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73" r:id="rId1"/>
    <p:sldMasterId id="2147483721" r:id="rId2"/>
    <p:sldMasterId id="2147483711" r:id="rId3"/>
    <p:sldMasterId id="2147483731" r:id="rId4"/>
    <p:sldMasterId id="2147483735" r:id="rId5"/>
    <p:sldMasterId id="2147483739" r:id="rId6"/>
  </p:sldMasterIdLst>
  <p:notesMasterIdLst>
    <p:notesMasterId r:id="rId24"/>
  </p:notesMasterIdLst>
  <p:handoutMasterIdLst>
    <p:handoutMasterId r:id="rId25"/>
  </p:handoutMasterIdLst>
  <p:sldIdLst>
    <p:sldId id="378" r:id="rId7"/>
    <p:sldId id="844" r:id="rId8"/>
    <p:sldId id="833" r:id="rId9"/>
    <p:sldId id="831" r:id="rId10"/>
    <p:sldId id="834" r:id="rId11"/>
    <p:sldId id="837" r:id="rId12"/>
    <p:sldId id="836" r:id="rId13"/>
    <p:sldId id="835" r:id="rId14"/>
    <p:sldId id="839" r:id="rId15"/>
    <p:sldId id="838" r:id="rId16"/>
    <p:sldId id="840" r:id="rId17"/>
    <p:sldId id="841" r:id="rId18"/>
    <p:sldId id="845" r:id="rId19"/>
    <p:sldId id="830" r:id="rId20"/>
    <p:sldId id="843" r:id="rId21"/>
    <p:sldId id="847" r:id="rId22"/>
    <p:sldId id="846" r:id="rId23"/>
  </p:sldIdLst>
  <p:sldSz cx="12190413" cy="6858000"/>
  <p:notesSz cx="6669088" cy="9926638"/>
  <p:embeddedFontLst>
    <p:embeddedFont>
      <p:font typeface="Bebas Neue" panose="020B0506020202020201" charset="0"/>
      <p:regular r:id="rId26"/>
    </p:embeddedFont>
    <p:embeddedFont>
      <p:font typeface="Calibri" panose="020F0502020204030204" pitchFamily="34" charset="0"/>
      <p:regular r:id="rId27"/>
      <p:bold r:id="rId28"/>
      <p:italic r:id="rId29"/>
      <p:boldItalic r:id="rId30"/>
    </p:embeddedFont>
    <p:embeddedFont>
      <p:font typeface="Calibri Light" panose="020F0302020204030204" pitchFamily="34" charset="0"/>
      <p:regular r:id="rId31"/>
      <p:italic r:id="rId32"/>
    </p:embeddedFont>
    <p:embeddedFont>
      <p:font typeface="Segoe UI" panose="020B0502040204020203" pitchFamily="34" charset="0"/>
      <p:regular r:id="rId33"/>
      <p:bold r:id="rId34"/>
      <p:italic r:id="rId35"/>
      <p:boldItalic r:id="rId36"/>
    </p:embeddedFont>
  </p:embeddedFontLst>
  <p:custDataLst>
    <p:tags r:id="rId37"/>
  </p:custDataLst>
  <p:defaultTextStyle>
    <a:defPPr>
      <a:defRPr lang="de-DE"/>
    </a:defPPr>
    <a:lvl1pPr marL="0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018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035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054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069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086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104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6138" algn="l" defTabSz="91403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B77E98E4-12B4-48D4-92E5-9443B9DC8E55}">
          <p14:sldIdLst>
            <p14:sldId id="378"/>
            <p14:sldId id="844"/>
            <p14:sldId id="833"/>
          </p14:sldIdLst>
        </p14:section>
        <p14:section name="SECTION 1" id="{7911D283-A686-4769-9901-E0F1E794CE5A}">
          <p14:sldIdLst>
            <p14:sldId id="831"/>
            <p14:sldId id="834"/>
            <p14:sldId id="837"/>
            <p14:sldId id="836"/>
            <p14:sldId id="835"/>
            <p14:sldId id="839"/>
            <p14:sldId id="838"/>
            <p14:sldId id="840"/>
            <p14:sldId id="841"/>
            <p14:sldId id="845"/>
          </p14:sldIdLst>
        </p14:section>
        <p14:section name="FINAL" id="{2475EA1E-BCBB-44E6-B271-402CD384091F}">
          <p14:sldIdLst>
            <p14:sldId id="830"/>
            <p14:sldId id="843"/>
            <p14:sldId id="847"/>
          </p14:sldIdLst>
        </p14:section>
        <p14:section name="Ressources" id="{7BE2F3F8-033B-4744-8B5A-3CDE4A7511C7}">
          <p14:sldIdLst>
            <p14:sldId id="84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81" userDrawn="1">
          <p15:clr>
            <a:srgbClr val="A4A3A4"/>
          </p15:clr>
        </p15:guide>
        <p15:guide id="2" pos="338" userDrawn="1">
          <p15:clr>
            <a:srgbClr val="A4A3A4"/>
          </p15:clr>
        </p15:guide>
        <p15:guide id="3" orient="horz" pos="3657" userDrawn="1">
          <p15:clr>
            <a:srgbClr val="A4A3A4"/>
          </p15:clr>
        </p15:guide>
        <p15:guide id="4" pos="7339" userDrawn="1">
          <p15:clr>
            <a:srgbClr val="A4A3A4"/>
          </p15:clr>
        </p15:guide>
        <p15:guide id="5" orient="horz">
          <p15:clr>
            <a:srgbClr val="A4A3A4"/>
          </p15:clr>
        </p15:guide>
        <p15:guide id="6">
          <p15:clr>
            <a:srgbClr val="A4A3A4"/>
          </p15:clr>
        </p15:guide>
        <p15:guide id="7" orient="horz" pos="984">
          <p15:clr>
            <a:srgbClr val="A4A3A4"/>
          </p15:clr>
        </p15:guide>
        <p15:guide id="8" pos="349">
          <p15:clr>
            <a:srgbClr val="A4A3A4"/>
          </p15:clr>
        </p15:guide>
        <p15:guide id="9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64775"/>
    <a:srgbClr val="E6E6E6"/>
    <a:srgbClr val="F8F8F8"/>
    <a:srgbClr val="DEDEDE"/>
    <a:srgbClr val="CFCFCF"/>
    <a:srgbClr val="F2F2F2"/>
    <a:srgbClr val="EAEAEA"/>
    <a:srgbClr val="000000"/>
    <a:srgbClr val="404040"/>
    <a:srgbClr val="D9D9D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5E689C-724C-4B73-8F29-D21652CCA886}" v="514" dt="2021-06-04T06:15:49.9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1" autoAdjust="0"/>
    <p:restoredTop sz="98856" autoAdjust="0"/>
  </p:normalViewPr>
  <p:slideViewPr>
    <p:cSldViewPr snapToGrid="0" snapToObjects="1" showGuides="1">
      <p:cViewPr varScale="1">
        <p:scale>
          <a:sx n="85" d="100"/>
          <a:sy n="85" d="100"/>
        </p:scale>
        <p:origin x="72" y="384"/>
      </p:cViewPr>
      <p:guideLst>
        <p:guide orient="horz" pos="981"/>
        <p:guide pos="338"/>
        <p:guide orient="horz" pos="3657"/>
        <p:guide pos="7339"/>
        <p:guide orient="horz"/>
        <p:guide/>
        <p:guide orient="horz" pos="984"/>
        <p:guide pos="349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-4080" y="-102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font" Target="fonts/font1.fntdata"/><Relationship Id="rId39" Type="http://schemas.openxmlformats.org/officeDocument/2006/relationships/viewProps" Target="viewProps.xml"/><Relationship Id="rId21" Type="http://schemas.openxmlformats.org/officeDocument/2006/relationships/slide" Target="slides/slide15.xml"/><Relationship Id="rId34" Type="http://schemas.openxmlformats.org/officeDocument/2006/relationships/font" Target="fonts/font9.fntdata"/><Relationship Id="rId42" Type="http://schemas.microsoft.com/office/2016/11/relationships/changesInfo" Target="changesInfos/changesInfo1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font" Target="fonts/font4.fntdata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7.fntdata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font" Target="fonts/font6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microsoft.com/office/2015/10/relationships/revisionInfo" Target="revisionInfo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33" Type="http://schemas.openxmlformats.org/officeDocument/2006/relationships/font" Target="fonts/font8.fntdata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5A5E689C-724C-4B73-8F29-D21652CCA886}"/>
    <pc:docChg chg="undo custSel addSld delSld modSld sldOrd addSection delSection modSection">
      <pc:chgData name="Thomas Stensitzki" userId="75cafe6b-2f2a-469b-85c4-eec3b9c972ba" providerId="ADAL" clId="{5A5E689C-724C-4B73-8F29-D21652CCA886}" dt="2021-06-04T08:37:15.024" v="4641" actId="6549"/>
      <pc:docMkLst>
        <pc:docMk/>
      </pc:docMkLst>
      <pc:sldChg chg="addSp delSp modSp del mod modClrScheme chgLayout">
        <pc:chgData name="Thomas Stensitzki" userId="75cafe6b-2f2a-469b-85c4-eec3b9c972ba" providerId="ADAL" clId="{5A5E689C-724C-4B73-8F29-D21652CCA886}" dt="2021-05-23T09:15:23.126" v="1209"/>
        <pc:sldMkLst>
          <pc:docMk/>
          <pc:sldMk cId="2432739685" sldId="282"/>
        </pc:sldMkLst>
        <pc:spChg chg="mod ord">
          <ac:chgData name="Thomas Stensitzki" userId="75cafe6b-2f2a-469b-85c4-eec3b9c972ba" providerId="ADAL" clId="{5A5E689C-724C-4B73-8F29-D21652CCA886}" dt="2021-05-23T09:15:21.775" v="1207" actId="700"/>
          <ac:spMkLst>
            <pc:docMk/>
            <pc:sldMk cId="2432739685" sldId="282"/>
            <ac:spMk id="2" creationId="{3F28B467-57C1-4C47-9413-554E70201C4C}"/>
          </ac:spMkLst>
        </pc:spChg>
        <pc:spChg chg="add del mod ord">
          <ac:chgData name="Thomas Stensitzki" userId="75cafe6b-2f2a-469b-85c4-eec3b9c972ba" providerId="ADAL" clId="{5A5E689C-724C-4B73-8F29-D21652CCA886}" dt="2021-05-23T09:15:21.775" v="1207" actId="700"/>
          <ac:spMkLst>
            <pc:docMk/>
            <pc:sldMk cId="2432739685" sldId="282"/>
            <ac:spMk id="3" creationId="{1901EB48-1989-45DD-8BFC-9EF7D0B5B9D1}"/>
          </ac:spMkLst>
        </pc:spChg>
        <pc:spChg chg="add del">
          <ac:chgData name="Thomas Stensitzki" userId="75cafe6b-2f2a-469b-85c4-eec3b9c972ba" providerId="ADAL" clId="{5A5E689C-724C-4B73-8F29-D21652CCA886}" dt="2021-05-23T09:15:22.335" v="1208" actId="478"/>
          <ac:spMkLst>
            <pc:docMk/>
            <pc:sldMk cId="2432739685" sldId="282"/>
            <ac:spMk id="4" creationId="{36D01178-788A-4778-B018-1DF985D87C42}"/>
          </ac:spMkLst>
        </pc:spChg>
        <pc:spChg chg="add del mod ord">
          <ac:chgData name="Thomas Stensitzki" userId="75cafe6b-2f2a-469b-85c4-eec3b9c972ba" providerId="ADAL" clId="{5A5E689C-724C-4B73-8F29-D21652CCA886}" dt="2021-05-23T09:15:21.775" v="1207" actId="700"/>
          <ac:spMkLst>
            <pc:docMk/>
            <pc:sldMk cId="2432739685" sldId="282"/>
            <ac:spMk id="5" creationId="{A7CB90DE-78DC-463A-869C-17ED93087EAC}"/>
          </ac:spMkLst>
        </pc:spChg>
        <pc:spChg chg="add del mod ord">
          <ac:chgData name="Thomas Stensitzki" userId="75cafe6b-2f2a-469b-85c4-eec3b9c972ba" providerId="ADAL" clId="{5A5E689C-724C-4B73-8F29-D21652CCA886}" dt="2021-05-23T09:15:21.775" v="1207" actId="700"/>
          <ac:spMkLst>
            <pc:docMk/>
            <pc:sldMk cId="2432739685" sldId="282"/>
            <ac:spMk id="37" creationId="{BBF2EFB5-9C42-45A8-91F8-72E753E0E49B}"/>
          </ac:spMkLst>
        </pc:spChg>
      </pc:sldChg>
      <pc:sldChg chg="addSp modSp mod modNotes">
        <pc:chgData name="Thomas Stensitzki" userId="75cafe6b-2f2a-469b-85c4-eec3b9c972ba" providerId="ADAL" clId="{5A5E689C-724C-4B73-8F29-D21652CCA886}" dt="2021-06-04T06:03:34.873" v="4566" actId="20577"/>
        <pc:sldMkLst>
          <pc:docMk/>
          <pc:sldMk cId="2840609382" sldId="378"/>
        </pc:sldMkLst>
        <pc:spChg chg="mod">
          <ac:chgData name="Thomas Stensitzki" userId="75cafe6b-2f2a-469b-85c4-eec3b9c972ba" providerId="ADAL" clId="{5A5E689C-724C-4B73-8F29-D21652CCA886}" dt="2021-05-23T08:48:53.753" v="103" actId="790"/>
          <ac:spMkLst>
            <pc:docMk/>
            <pc:sldMk cId="2840609382" sldId="378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6-04T06:03:34.873" v="4566" actId="20577"/>
          <ac:spMkLst>
            <pc:docMk/>
            <pc:sldMk cId="2840609382" sldId="37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5A5E689C-724C-4B73-8F29-D21652CCA886}" dt="2021-06-03T06:19:33.279" v="3858" actId="1076"/>
          <ac:picMkLst>
            <pc:docMk/>
            <pc:sldMk cId="2840609382" sldId="378"/>
            <ac:picMk id="5" creationId="{5F9696F3-4B51-4D61-B1B0-E972D354E135}"/>
          </ac:picMkLst>
        </pc:pic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2604925702" sldId="671"/>
        </pc:sldMkLst>
        <pc:spChg chg="mod">
          <ac:chgData name="Thomas Stensitzki" userId="75cafe6b-2f2a-469b-85c4-eec3b9c972ba" providerId="ADAL" clId="{5A5E689C-724C-4B73-8F29-D21652CCA886}" dt="2021-05-23T08:48:53.770" v="122" actId="790"/>
          <ac:spMkLst>
            <pc:docMk/>
            <pc:sldMk cId="2604925702" sldId="671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73" v="126" actId="790"/>
          <ac:spMkLst>
            <pc:docMk/>
            <pc:sldMk cId="2604925702" sldId="671"/>
            <ac:spMk id="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71" v="123" actId="790"/>
          <ac:spMkLst>
            <pc:docMk/>
            <pc:sldMk cId="2604925702" sldId="671"/>
            <ac:spMk id="6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71" v="124" actId="790"/>
          <ac:spMkLst>
            <pc:docMk/>
            <pc:sldMk cId="2604925702" sldId="671"/>
            <ac:spMk id="8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72" v="125" actId="790"/>
          <ac:spMkLst>
            <pc:docMk/>
            <pc:sldMk cId="2604925702" sldId="671"/>
            <ac:spMk id="9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75" v="127"/>
          <ac:spMkLst>
            <pc:docMk/>
            <pc:sldMk cId="2604925702" sldId="671"/>
            <ac:spMk id="1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87" v="128"/>
          <ac:spMkLst>
            <pc:docMk/>
            <pc:sldMk cId="2604925702" sldId="671"/>
            <ac:spMk id="1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88" v="129"/>
          <ac:spMkLst>
            <pc:docMk/>
            <pc:sldMk cId="2604925702" sldId="671"/>
            <ac:spMk id="1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3251048586" sldId="811"/>
        </pc:sldMkLst>
        <pc:spChg chg="mod">
          <ac:chgData name="Thomas Stensitzki" userId="75cafe6b-2f2a-469b-85c4-eec3b9c972ba" providerId="ADAL" clId="{5A5E689C-724C-4B73-8F29-D21652CCA886}" dt="2021-05-23T08:48:53.793" v="137" actId="790"/>
          <ac:spMkLst>
            <pc:docMk/>
            <pc:sldMk cId="3251048586" sldId="811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96" v="140" actId="790"/>
          <ac:spMkLst>
            <pc:docMk/>
            <pc:sldMk cId="3251048586" sldId="811"/>
            <ac:spMk id="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93" v="138" actId="790"/>
          <ac:spMkLst>
            <pc:docMk/>
            <pc:sldMk cId="3251048586" sldId="811"/>
            <ac:spMk id="4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95" v="139" actId="790"/>
          <ac:spMkLst>
            <pc:docMk/>
            <pc:sldMk cId="3251048586" sldId="811"/>
            <ac:spMk id="5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96" v="141" actId="790"/>
          <ac:spMkLst>
            <pc:docMk/>
            <pc:sldMk cId="3251048586" sldId="811"/>
            <ac:spMk id="8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97" v="142" actId="790"/>
          <ac:spMkLst>
            <pc:docMk/>
            <pc:sldMk cId="3251048586" sldId="811"/>
            <ac:spMk id="9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97" v="143"/>
          <ac:spMkLst>
            <pc:docMk/>
            <pc:sldMk cId="3251048586" sldId="811"/>
            <ac:spMk id="1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99" v="144"/>
          <ac:spMkLst>
            <pc:docMk/>
            <pc:sldMk cId="3251048586" sldId="811"/>
            <ac:spMk id="1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99" v="145"/>
          <ac:spMkLst>
            <pc:docMk/>
            <pc:sldMk cId="3251048586" sldId="811"/>
            <ac:spMk id="1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3018093643" sldId="813"/>
        </pc:sldMkLst>
        <pc:spChg chg="mod">
          <ac:chgData name="Thomas Stensitzki" userId="75cafe6b-2f2a-469b-85c4-eec3b9c972ba" providerId="ADAL" clId="{5A5E689C-724C-4B73-8F29-D21652CCA886}" dt="2021-05-23T08:48:53.790" v="132" actId="790"/>
          <ac:spMkLst>
            <pc:docMk/>
            <pc:sldMk cId="3018093643" sldId="813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791" v="133" actId="790"/>
          <ac:spMkLst>
            <pc:docMk/>
            <pc:sldMk cId="3018093643" sldId="813"/>
            <ac:spMk id="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3007419678" sldId="814"/>
        </pc:sldMkLst>
        <pc:spChg chg="mod">
          <ac:chgData name="Thomas Stensitzki" userId="75cafe6b-2f2a-469b-85c4-eec3b9c972ba" providerId="ADAL" clId="{5A5E689C-724C-4B73-8F29-D21652CCA886}" dt="2021-05-23T08:48:53.811" v="159" actId="790"/>
          <ac:spMkLst>
            <pc:docMk/>
            <pc:sldMk cId="3007419678" sldId="814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11" v="160" actId="790"/>
          <ac:spMkLst>
            <pc:docMk/>
            <pc:sldMk cId="3007419678" sldId="814"/>
            <ac:spMk id="4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09" v="158" actId="790"/>
          <ac:spMkLst>
            <pc:docMk/>
            <pc:sldMk cId="3007419678" sldId="814"/>
            <ac:spMk id="6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1595304060" sldId="815"/>
        </pc:sldMkLst>
        <pc:spChg chg="mod">
          <ac:chgData name="Thomas Stensitzki" userId="75cafe6b-2f2a-469b-85c4-eec3b9c972ba" providerId="ADAL" clId="{5A5E689C-724C-4B73-8F29-D21652CCA886}" dt="2021-05-23T08:48:53.814" v="164" actId="790"/>
          <ac:spMkLst>
            <pc:docMk/>
            <pc:sldMk cId="1595304060" sldId="815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17" v="168" actId="790"/>
          <ac:spMkLst>
            <pc:docMk/>
            <pc:sldMk cId="1595304060" sldId="815"/>
            <ac:spMk id="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15" v="165" actId="790"/>
          <ac:spMkLst>
            <pc:docMk/>
            <pc:sldMk cId="1595304060" sldId="815"/>
            <ac:spMk id="4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16" v="166" actId="790"/>
          <ac:spMkLst>
            <pc:docMk/>
            <pc:sldMk cId="1595304060" sldId="815"/>
            <ac:spMk id="8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16" v="167" actId="790"/>
          <ac:spMkLst>
            <pc:docMk/>
            <pc:sldMk cId="1595304060" sldId="815"/>
            <ac:spMk id="9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17" v="169"/>
          <ac:spMkLst>
            <pc:docMk/>
            <pc:sldMk cId="1595304060" sldId="815"/>
            <ac:spMk id="1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18" v="170"/>
          <ac:spMkLst>
            <pc:docMk/>
            <pc:sldMk cId="1595304060" sldId="815"/>
            <ac:spMk id="1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19" v="171"/>
          <ac:spMkLst>
            <pc:docMk/>
            <pc:sldMk cId="1595304060" sldId="815"/>
            <ac:spMk id="1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1869646049" sldId="816"/>
        </pc:sldMkLst>
        <pc:spChg chg="mod">
          <ac:chgData name="Thomas Stensitzki" userId="75cafe6b-2f2a-469b-85c4-eec3b9c972ba" providerId="ADAL" clId="{5A5E689C-724C-4B73-8F29-D21652CCA886}" dt="2021-05-23T08:48:53.821" v="174" actId="790"/>
          <ac:spMkLst>
            <pc:docMk/>
            <pc:sldMk cId="1869646049" sldId="816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21" v="175" actId="790"/>
          <ac:spMkLst>
            <pc:docMk/>
            <pc:sldMk cId="1869646049" sldId="816"/>
            <ac:spMk id="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3264467736" sldId="817"/>
        </pc:sldMkLst>
        <pc:spChg chg="mod">
          <ac:chgData name="Thomas Stensitzki" userId="75cafe6b-2f2a-469b-85c4-eec3b9c972ba" providerId="ADAL" clId="{5A5E689C-724C-4B73-8F29-D21652CCA886}" dt="2021-05-23T08:48:53.823" v="179" actId="790"/>
          <ac:spMkLst>
            <pc:docMk/>
            <pc:sldMk cId="3264467736" sldId="817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26" v="182" actId="790"/>
          <ac:spMkLst>
            <pc:docMk/>
            <pc:sldMk cId="3264467736" sldId="817"/>
            <ac:spMk id="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24" v="180" actId="790"/>
          <ac:spMkLst>
            <pc:docMk/>
            <pc:sldMk cId="3264467736" sldId="817"/>
            <ac:spMk id="4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25" v="181" actId="790"/>
          <ac:spMkLst>
            <pc:docMk/>
            <pc:sldMk cId="3264467736" sldId="817"/>
            <ac:spMk id="5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27" v="183" actId="790"/>
          <ac:spMkLst>
            <pc:docMk/>
            <pc:sldMk cId="3264467736" sldId="817"/>
            <ac:spMk id="8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27" v="184" actId="790"/>
          <ac:spMkLst>
            <pc:docMk/>
            <pc:sldMk cId="3264467736" sldId="817"/>
            <ac:spMk id="9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28" v="185"/>
          <ac:spMkLst>
            <pc:docMk/>
            <pc:sldMk cId="3264467736" sldId="817"/>
            <ac:spMk id="1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29" v="186"/>
          <ac:spMkLst>
            <pc:docMk/>
            <pc:sldMk cId="3264467736" sldId="817"/>
            <ac:spMk id="1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29" v="187"/>
          <ac:spMkLst>
            <pc:docMk/>
            <pc:sldMk cId="3264467736" sldId="817"/>
            <ac:spMk id="1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3007419678" sldId="818"/>
        </pc:sldMkLst>
        <pc:spChg chg="mod">
          <ac:chgData name="Thomas Stensitzki" userId="75cafe6b-2f2a-469b-85c4-eec3b9c972ba" providerId="ADAL" clId="{5A5E689C-724C-4B73-8F29-D21652CCA886}" dt="2021-05-23T08:48:53.840" v="201" actId="790"/>
          <ac:spMkLst>
            <pc:docMk/>
            <pc:sldMk cId="3007419678" sldId="818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40" v="202" actId="790"/>
          <ac:spMkLst>
            <pc:docMk/>
            <pc:sldMk cId="3007419678" sldId="818"/>
            <ac:spMk id="4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39" v="200" actId="790"/>
          <ac:spMkLst>
            <pc:docMk/>
            <pc:sldMk cId="3007419678" sldId="818"/>
            <ac:spMk id="6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1595304060" sldId="819"/>
        </pc:sldMkLst>
        <pc:spChg chg="mod">
          <ac:chgData name="Thomas Stensitzki" userId="75cafe6b-2f2a-469b-85c4-eec3b9c972ba" providerId="ADAL" clId="{5A5E689C-724C-4B73-8F29-D21652CCA886}" dt="2021-05-23T08:48:53.842" v="206" actId="790"/>
          <ac:spMkLst>
            <pc:docMk/>
            <pc:sldMk cId="1595304060" sldId="819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45" v="210" actId="790"/>
          <ac:spMkLst>
            <pc:docMk/>
            <pc:sldMk cId="1595304060" sldId="819"/>
            <ac:spMk id="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43" v="207" actId="790"/>
          <ac:spMkLst>
            <pc:docMk/>
            <pc:sldMk cId="1595304060" sldId="819"/>
            <ac:spMk id="4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43" v="208" actId="790"/>
          <ac:spMkLst>
            <pc:docMk/>
            <pc:sldMk cId="1595304060" sldId="819"/>
            <ac:spMk id="8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44" v="209" actId="790"/>
          <ac:spMkLst>
            <pc:docMk/>
            <pc:sldMk cId="1595304060" sldId="819"/>
            <ac:spMk id="9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46" v="211"/>
          <ac:spMkLst>
            <pc:docMk/>
            <pc:sldMk cId="1595304060" sldId="819"/>
            <ac:spMk id="1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47" v="212"/>
          <ac:spMkLst>
            <pc:docMk/>
            <pc:sldMk cId="1595304060" sldId="819"/>
            <ac:spMk id="1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47" v="213"/>
          <ac:spMkLst>
            <pc:docMk/>
            <pc:sldMk cId="1595304060" sldId="819"/>
            <ac:spMk id="1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1869646049" sldId="820"/>
        </pc:sldMkLst>
        <pc:spChg chg="mod">
          <ac:chgData name="Thomas Stensitzki" userId="75cafe6b-2f2a-469b-85c4-eec3b9c972ba" providerId="ADAL" clId="{5A5E689C-724C-4B73-8F29-D21652CCA886}" dt="2021-05-23T08:48:53.850" v="216" actId="790"/>
          <ac:spMkLst>
            <pc:docMk/>
            <pc:sldMk cId="1869646049" sldId="820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50" v="217" actId="790"/>
          <ac:spMkLst>
            <pc:docMk/>
            <pc:sldMk cId="1869646049" sldId="820"/>
            <ac:spMk id="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3264467736" sldId="821"/>
        </pc:sldMkLst>
        <pc:spChg chg="mod">
          <ac:chgData name="Thomas Stensitzki" userId="75cafe6b-2f2a-469b-85c4-eec3b9c972ba" providerId="ADAL" clId="{5A5E689C-724C-4B73-8F29-D21652CCA886}" dt="2021-05-23T08:48:53.852" v="221" actId="790"/>
          <ac:spMkLst>
            <pc:docMk/>
            <pc:sldMk cId="3264467736" sldId="821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55" v="224" actId="790"/>
          <ac:spMkLst>
            <pc:docMk/>
            <pc:sldMk cId="3264467736" sldId="821"/>
            <ac:spMk id="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53" v="222" actId="790"/>
          <ac:spMkLst>
            <pc:docMk/>
            <pc:sldMk cId="3264467736" sldId="821"/>
            <ac:spMk id="4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54" v="223" actId="790"/>
          <ac:spMkLst>
            <pc:docMk/>
            <pc:sldMk cId="3264467736" sldId="821"/>
            <ac:spMk id="5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56" v="225" actId="790"/>
          <ac:spMkLst>
            <pc:docMk/>
            <pc:sldMk cId="3264467736" sldId="821"/>
            <ac:spMk id="8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56" v="226" actId="790"/>
          <ac:spMkLst>
            <pc:docMk/>
            <pc:sldMk cId="3264467736" sldId="821"/>
            <ac:spMk id="9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57" v="227"/>
          <ac:spMkLst>
            <pc:docMk/>
            <pc:sldMk cId="3264467736" sldId="821"/>
            <ac:spMk id="1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57" v="228"/>
          <ac:spMkLst>
            <pc:docMk/>
            <pc:sldMk cId="3264467736" sldId="821"/>
            <ac:spMk id="1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58" v="229"/>
          <ac:spMkLst>
            <pc:docMk/>
            <pc:sldMk cId="3264467736" sldId="821"/>
            <ac:spMk id="14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2154960334" sldId="827"/>
        </pc:sldMkLst>
        <pc:spChg chg="mod">
          <ac:chgData name="Thomas Stensitzki" userId="75cafe6b-2f2a-469b-85c4-eec3b9c972ba" providerId="ADAL" clId="{5A5E689C-724C-4B73-8F29-D21652CCA886}" dt="2021-05-23T08:48:53.803" v="150" actId="790"/>
          <ac:spMkLst>
            <pc:docMk/>
            <pc:sldMk cId="2154960334" sldId="827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04" v="151" actId="790"/>
          <ac:spMkLst>
            <pc:docMk/>
            <pc:sldMk cId="2154960334" sldId="827"/>
            <ac:spMk id="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05" v="152" actId="790"/>
          <ac:spMkLst>
            <pc:docMk/>
            <pc:sldMk cId="2154960334" sldId="827"/>
            <ac:spMk id="10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06" v="153" actId="790"/>
          <ac:spMkLst>
            <pc:docMk/>
            <pc:sldMk cId="2154960334" sldId="827"/>
            <ac:spMk id="11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06" v="154" actId="790"/>
          <ac:spMkLst>
            <pc:docMk/>
            <pc:sldMk cId="2154960334" sldId="827"/>
            <ac:spMk id="1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07" v="155" actId="790"/>
          <ac:spMkLst>
            <pc:docMk/>
            <pc:sldMk cId="2154960334" sldId="827"/>
            <ac:spMk id="1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02" v="148" actId="790"/>
          <ac:spMkLst>
            <pc:docMk/>
            <pc:sldMk cId="2154960334" sldId="827"/>
            <ac:spMk id="19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03" v="149" actId="790"/>
          <ac:spMkLst>
            <pc:docMk/>
            <pc:sldMk cId="2154960334" sldId="827"/>
            <ac:spMk id="20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441744978" sldId="828"/>
        </pc:sldMkLst>
        <pc:spChg chg="mod">
          <ac:chgData name="Thomas Stensitzki" userId="75cafe6b-2f2a-469b-85c4-eec3b9c972ba" providerId="ADAL" clId="{5A5E689C-724C-4B73-8F29-D21652CCA886}" dt="2021-05-23T08:48:53.833" v="192" actId="790"/>
          <ac:spMkLst>
            <pc:docMk/>
            <pc:sldMk cId="441744978" sldId="828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34" v="193" actId="790"/>
          <ac:spMkLst>
            <pc:docMk/>
            <pc:sldMk cId="441744978" sldId="828"/>
            <ac:spMk id="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34" v="194" actId="790"/>
          <ac:spMkLst>
            <pc:docMk/>
            <pc:sldMk cId="441744978" sldId="828"/>
            <ac:spMk id="10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35" v="195" actId="790"/>
          <ac:spMkLst>
            <pc:docMk/>
            <pc:sldMk cId="441744978" sldId="828"/>
            <ac:spMk id="11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36" v="196" actId="790"/>
          <ac:spMkLst>
            <pc:docMk/>
            <pc:sldMk cId="441744978" sldId="828"/>
            <ac:spMk id="1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36" v="197" actId="790"/>
          <ac:spMkLst>
            <pc:docMk/>
            <pc:sldMk cId="441744978" sldId="828"/>
            <ac:spMk id="1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32" v="190" actId="790"/>
          <ac:spMkLst>
            <pc:docMk/>
            <pc:sldMk cId="441744978" sldId="828"/>
            <ac:spMk id="19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33" v="191" actId="790"/>
          <ac:spMkLst>
            <pc:docMk/>
            <pc:sldMk cId="441744978" sldId="828"/>
            <ac:spMk id="20" creationId="{00000000-0000-0000-0000-000000000000}"/>
          </ac:spMkLst>
        </pc:spChg>
      </pc:sldChg>
      <pc:sldChg chg="modSp del mod modNotes">
        <pc:chgData name="Thomas Stensitzki" userId="75cafe6b-2f2a-469b-85c4-eec3b9c972ba" providerId="ADAL" clId="{5A5E689C-724C-4B73-8F29-D21652CCA886}" dt="2021-05-23T09:57:14.609" v="3765" actId="47"/>
        <pc:sldMkLst>
          <pc:docMk/>
          <pc:sldMk cId="409449452" sldId="829"/>
        </pc:sldMkLst>
        <pc:spChg chg="mod">
          <ac:chgData name="Thomas Stensitzki" userId="75cafe6b-2f2a-469b-85c4-eec3b9c972ba" providerId="ADAL" clId="{5A5E689C-724C-4B73-8F29-D21652CCA886}" dt="2021-05-23T08:48:53.862" v="234" actId="790"/>
          <ac:spMkLst>
            <pc:docMk/>
            <pc:sldMk cId="409449452" sldId="829"/>
            <ac:spMk id="2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63" v="235" actId="790"/>
          <ac:spMkLst>
            <pc:docMk/>
            <pc:sldMk cId="409449452" sldId="829"/>
            <ac:spMk id="3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64" v="236" actId="790"/>
          <ac:spMkLst>
            <pc:docMk/>
            <pc:sldMk cId="409449452" sldId="829"/>
            <ac:spMk id="10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64" v="237" actId="790"/>
          <ac:spMkLst>
            <pc:docMk/>
            <pc:sldMk cId="409449452" sldId="829"/>
            <ac:spMk id="11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65" v="238" actId="790"/>
          <ac:spMkLst>
            <pc:docMk/>
            <pc:sldMk cId="409449452" sldId="829"/>
            <ac:spMk id="16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61" v="232" actId="790"/>
          <ac:spMkLst>
            <pc:docMk/>
            <pc:sldMk cId="409449452" sldId="829"/>
            <ac:spMk id="19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62" v="233" actId="790"/>
          <ac:spMkLst>
            <pc:docMk/>
            <pc:sldMk cId="409449452" sldId="829"/>
            <ac:spMk id="20" creationId="{00000000-0000-0000-0000-000000000000}"/>
          </ac:spMkLst>
        </pc:spChg>
        <pc:spChg chg="mod">
          <ac:chgData name="Thomas Stensitzki" userId="75cafe6b-2f2a-469b-85c4-eec3b9c972ba" providerId="ADAL" clId="{5A5E689C-724C-4B73-8F29-D21652CCA886}" dt="2021-05-23T08:48:53.865" v="239" actId="790"/>
          <ac:spMkLst>
            <pc:docMk/>
            <pc:sldMk cId="409449452" sldId="829"/>
            <ac:spMk id="21" creationId="{00000000-0000-0000-0000-000000000000}"/>
          </ac:spMkLst>
        </pc:spChg>
      </pc:sldChg>
      <pc:sldChg chg="delSp modSp mod modNotes">
        <pc:chgData name="Thomas Stensitzki" userId="75cafe6b-2f2a-469b-85c4-eec3b9c972ba" providerId="ADAL" clId="{5A5E689C-724C-4B73-8F29-D21652CCA886}" dt="2021-05-23T08:48:53.770" v="121" actId="790"/>
        <pc:sldMkLst>
          <pc:docMk/>
          <pc:sldMk cId="2734184211" sldId="830"/>
        </pc:sldMkLst>
        <pc:spChg chg="mod">
          <ac:chgData name="Thomas Stensitzki" userId="75cafe6b-2f2a-469b-85c4-eec3b9c972ba" providerId="ADAL" clId="{5A5E689C-724C-4B73-8F29-D21652CCA886}" dt="2021-05-23T08:48:53.767" v="117" actId="790"/>
          <ac:spMkLst>
            <pc:docMk/>
            <pc:sldMk cId="2734184211" sldId="830"/>
            <ac:spMk id="2" creationId="{00000000-0000-0000-0000-000000000000}"/>
          </ac:spMkLst>
        </pc:spChg>
        <pc:spChg chg="del">
          <ac:chgData name="Thomas Stensitzki" userId="75cafe6b-2f2a-469b-85c4-eec3b9c972ba" providerId="ADAL" clId="{5A5E689C-724C-4B73-8F29-D21652CCA886}" dt="2021-05-23T08:46:46.463" v="32" actId="478"/>
          <ac:spMkLst>
            <pc:docMk/>
            <pc:sldMk cId="2734184211" sldId="830"/>
            <ac:spMk id="3" creationId="{C2E527F1-2D2B-4E9B-80CF-A57851DB1DDA}"/>
          </ac:spMkLst>
        </pc:spChg>
        <pc:spChg chg="mod">
          <ac:chgData name="Thomas Stensitzki" userId="75cafe6b-2f2a-469b-85c4-eec3b9c972ba" providerId="ADAL" clId="{5A5E689C-724C-4B73-8F29-D21652CCA886}" dt="2021-05-23T08:48:53.768" v="118" actId="790"/>
          <ac:spMkLst>
            <pc:docMk/>
            <pc:sldMk cId="2734184211" sldId="830"/>
            <ac:spMk id="6" creationId="{BADB25ED-3906-4D9E-8557-A35C93D0007F}"/>
          </ac:spMkLst>
        </pc:spChg>
      </pc:sldChg>
      <pc:sldChg chg="modSp mod modNotes">
        <pc:chgData name="Thomas Stensitzki" userId="75cafe6b-2f2a-469b-85c4-eec3b9c972ba" providerId="ADAL" clId="{5A5E689C-724C-4B73-8F29-D21652CCA886}" dt="2021-05-23T08:49:11.816" v="260" actId="20577"/>
        <pc:sldMkLst>
          <pc:docMk/>
          <pc:sldMk cId="826133795" sldId="831"/>
        </pc:sldMkLst>
        <pc:spChg chg="mod">
          <ac:chgData name="Thomas Stensitzki" userId="75cafe6b-2f2a-469b-85c4-eec3b9c972ba" providerId="ADAL" clId="{5A5E689C-724C-4B73-8F29-D21652CCA886}" dt="2021-05-23T08:48:53.764" v="113" actId="790"/>
          <ac:spMkLst>
            <pc:docMk/>
            <pc:sldMk cId="826133795" sldId="831"/>
            <ac:spMk id="4" creationId="{A0C623BE-F2A4-4533-A1A9-91CF237E6EB3}"/>
          </ac:spMkLst>
        </pc:spChg>
        <pc:spChg chg="mod">
          <ac:chgData name="Thomas Stensitzki" userId="75cafe6b-2f2a-469b-85c4-eec3b9c972ba" providerId="ADAL" clId="{5A5E689C-724C-4B73-8F29-D21652CCA886}" dt="2021-05-23T08:49:11.816" v="260" actId="20577"/>
          <ac:spMkLst>
            <pc:docMk/>
            <pc:sldMk cId="826133795" sldId="831"/>
            <ac:spMk id="5" creationId="{A98BD0FF-23BA-4749-AAD8-3970D867F26C}"/>
          </ac:spMkLst>
        </pc:spChg>
      </pc:sldChg>
      <pc:sldChg chg="addSp delSp modSp mod modNotes">
        <pc:chgData name="Thomas Stensitzki" userId="75cafe6b-2f2a-469b-85c4-eec3b9c972ba" providerId="ADAL" clId="{5A5E689C-724C-4B73-8F29-D21652CCA886}" dt="2021-06-03T06:24:28.589" v="3878" actId="20577"/>
        <pc:sldMkLst>
          <pc:docMk/>
          <pc:sldMk cId="838883149" sldId="833"/>
        </pc:sldMkLst>
        <pc:spChg chg="mod">
          <ac:chgData name="Thomas Stensitzki" userId="75cafe6b-2f2a-469b-85c4-eec3b9c972ba" providerId="ADAL" clId="{5A5E689C-724C-4B73-8F29-D21652CCA886}" dt="2021-05-23T08:48:53.756" v="108" actId="790"/>
          <ac:spMkLst>
            <pc:docMk/>
            <pc:sldMk cId="838883149" sldId="833"/>
            <ac:spMk id="2" creationId="{8F5F6780-642A-42ED-AB56-D47FDB5B2199}"/>
          </ac:spMkLst>
        </pc:spChg>
        <pc:spChg chg="mod">
          <ac:chgData name="Thomas Stensitzki" userId="75cafe6b-2f2a-469b-85c4-eec3b9c972ba" providerId="ADAL" clId="{5A5E689C-724C-4B73-8F29-D21652CCA886}" dt="2021-05-23T08:48:53.757" v="109" actId="790"/>
          <ac:spMkLst>
            <pc:docMk/>
            <pc:sldMk cId="838883149" sldId="833"/>
            <ac:spMk id="4" creationId="{7B3574BB-9A1A-45C2-8B6D-609C2D276C1A}"/>
          </ac:spMkLst>
        </pc:spChg>
        <pc:spChg chg="mod">
          <ac:chgData name="Thomas Stensitzki" userId="75cafe6b-2f2a-469b-85c4-eec3b9c972ba" providerId="ADAL" clId="{5A5E689C-724C-4B73-8F29-D21652CCA886}" dt="2021-06-03T06:24:28.589" v="3878" actId="20577"/>
          <ac:spMkLst>
            <pc:docMk/>
            <pc:sldMk cId="838883149" sldId="833"/>
            <ac:spMk id="10" creationId="{415734D9-F780-4CC2-9DF6-005293538FEE}"/>
          </ac:spMkLst>
        </pc:spChg>
        <pc:picChg chg="add mod">
          <ac:chgData name="Thomas Stensitzki" userId="75cafe6b-2f2a-469b-85c4-eec3b9c972ba" providerId="ADAL" clId="{5A5E689C-724C-4B73-8F29-D21652CCA886}" dt="2021-05-23T08:46:07.338" v="4" actId="1076"/>
          <ac:picMkLst>
            <pc:docMk/>
            <pc:sldMk cId="838883149" sldId="833"/>
            <ac:picMk id="6" creationId="{95216D17-E301-459B-A434-100D7D50CCD7}"/>
          </ac:picMkLst>
        </pc:picChg>
        <pc:picChg chg="add mod">
          <ac:chgData name="Thomas Stensitzki" userId="75cafe6b-2f2a-469b-85c4-eec3b9c972ba" providerId="ADAL" clId="{5A5E689C-724C-4B73-8F29-D21652CCA886}" dt="2021-05-23T08:45:52.149" v="1" actId="1076"/>
          <ac:picMkLst>
            <pc:docMk/>
            <pc:sldMk cId="838883149" sldId="833"/>
            <ac:picMk id="7" creationId="{FC855892-EB58-4269-8A9D-5BA17D0D4F66}"/>
          </ac:picMkLst>
        </pc:picChg>
        <pc:picChg chg="add del mod">
          <ac:chgData name="Thomas Stensitzki" userId="75cafe6b-2f2a-469b-85c4-eec3b9c972ba" providerId="ADAL" clId="{5A5E689C-724C-4B73-8F29-D21652CCA886}" dt="2021-06-03T06:20:07.103" v="3872" actId="478"/>
          <ac:picMkLst>
            <pc:docMk/>
            <pc:sldMk cId="838883149" sldId="833"/>
            <ac:picMk id="8" creationId="{0959F8E8-EB7B-4F04-92DD-B0B0A9CF7A0F}"/>
          </ac:picMkLst>
        </pc:picChg>
      </pc:sldChg>
      <pc:sldChg chg="addSp delSp modSp new mod modClrScheme modAnim chgLayout">
        <pc:chgData name="Thomas Stensitzki" userId="75cafe6b-2f2a-469b-85c4-eec3b9c972ba" providerId="ADAL" clId="{5A5E689C-724C-4B73-8F29-D21652CCA886}" dt="2021-06-03T18:49:44.439" v="4565" actId="5793"/>
        <pc:sldMkLst>
          <pc:docMk/>
          <pc:sldMk cId="987434139" sldId="834"/>
        </pc:sldMkLst>
        <pc:spChg chg="add mod">
          <ac:chgData name="Thomas Stensitzki" userId="75cafe6b-2f2a-469b-85c4-eec3b9c972ba" providerId="ADAL" clId="{5A5E689C-724C-4B73-8F29-D21652CCA886}" dt="2021-06-03T18:49:05.608" v="4557" actId="164"/>
          <ac:spMkLst>
            <pc:docMk/>
            <pc:sldMk cId="987434139" sldId="834"/>
            <ac:spMk id="2" creationId="{87B5D864-A53E-4C77-8FBC-B7FD5C63CF5C}"/>
          </ac:spMkLst>
        </pc:spChg>
        <pc:spChg chg="del mod ord">
          <ac:chgData name="Thomas Stensitzki" userId="75cafe6b-2f2a-469b-85c4-eec3b9c972ba" providerId="ADAL" clId="{5A5E689C-724C-4B73-8F29-D21652CCA886}" dt="2021-05-23T08:49:24.596" v="262" actId="700"/>
          <ac:spMkLst>
            <pc:docMk/>
            <pc:sldMk cId="987434139" sldId="834"/>
            <ac:spMk id="2" creationId="{CDE72C2B-62D8-4A86-92FC-AFF52E2CBDA9}"/>
          </ac:spMkLst>
        </pc:spChg>
        <pc:spChg chg="del mod ord">
          <ac:chgData name="Thomas Stensitzki" userId="75cafe6b-2f2a-469b-85c4-eec3b9c972ba" providerId="ADAL" clId="{5A5E689C-724C-4B73-8F29-D21652CCA886}" dt="2021-05-23T08:49:24.596" v="262" actId="700"/>
          <ac:spMkLst>
            <pc:docMk/>
            <pc:sldMk cId="987434139" sldId="834"/>
            <ac:spMk id="3" creationId="{B78DEE7F-8B83-4470-B50A-1AACC35BD014}"/>
          </ac:spMkLst>
        </pc:spChg>
        <pc:spChg chg="add del mod ord">
          <ac:chgData name="Thomas Stensitzki" userId="75cafe6b-2f2a-469b-85c4-eec3b9c972ba" providerId="ADAL" clId="{5A5E689C-724C-4B73-8F29-D21652CCA886}" dt="2021-05-23T08:49:35.606" v="263" actId="700"/>
          <ac:spMkLst>
            <pc:docMk/>
            <pc:sldMk cId="987434139" sldId="834"/>
            <ac:spMk id="4" creationId="{41149E5C-26F6-4CB8-8C17-0918C1CEA972}"/>
          </ac:spMkLst>
        </pc:spChg>
        <pc:spChg chg="add del mod ord">
          <ac:chgData name="Thomas Stensitzki" userId="75cafe6b-2f2a-469b-85c4-eec3b9c972ba" providerId="ADAL" clId="{5A5E689C-724C-4B73-8F29-D21652CCA886}" dt="2021-05-23T08:49:35.606" v="263" actId="700"/>
          <ac:spMkLst>
            <pc:docMk/>
            <pc:sldMk cId="987434139" sldId="834"/>
            <ac:spMk id="5" creationId="{CE160612-2F2C-4E59-92F5-4908F99DE21F}"/>
          </ac:spMkLst>
        </pc:spChg>
        <pc:spChg chg="add del mod ord">
          <ac:chgData name="Thomas Stensitzki" userId="75cafe6b-2f2a-469b-85c4-eec3b9c972ba" providerId="ADAL" clId="{5A5E689C-724C-4B73-8F29-D21652CCA886}" dt="2021-05-23T08:49:35.606" v="263" actId="700"/>
          <ac:spMkLst>
            <pc:docMk/>
            <pc:sldMk cId="987434139" sldId="834"/>
            <ac:spMk id="6" creationId="{F7283CAB-5657-473E-9DE5-CACD070CA6A1}"/>
          </ac:spMkLst>
        </pc:spChg>
        <pc:spChg chg="add mod ord">
          <ac:chgData name="Thomas Stensitzki" userId="75cafe6b-2f2a-469b-85c4-eec3b9c972ba" providerId="ADAL" clId="{5A5E689C-724C-4B73-8F29-D21652CCA886}" dt="2021-05-23T08:50:00.983" v="264"/>
          <ac:spMkLst>
            <pc:docMk/>
            <pc:sldMk cId="987434139" sldId="834"/>
            <ac:spMk id="7" creationId="{26602B0E-8DB9-4597-90FA-9A97A8C968A3}"/>
          </ac:spMkLst>
        </pc:spChg>
        <pc:spChg chg="add mod ord">
          <ac:chgData name="Thomas Stensitzki" userId="75cafe6b-2f2a-469b-85c4-eec3b9c972ba" providerId="ADAL" clId="{5A5E689C-724C-4B73-8F29-D21652CCA886}" dt="2021-06-03T18:49:44.439" v="4565" actId="5793"/>
          <ac:spMkLst>
            <pc:docMk/>
            <pc:sldMk cId="987434139" sldId="834"/>
            <ac:spMk id="8" creationId="{80A521FF-F359-4C69-BB72-D04E77E6BD7C}"/>
          </ac:spMkLst>
        </pc:spChg>
        <pc:spChg chg="add mod ord">
          <ac:chgData name="Thomas Stensitzki" userId="75cafe6b-2f2a-469b-85c4-eec3b9c972ba" providerId="ADAL" clId="{5A5E689C-724C-4B73-8F29-D21652CCA886}" dt="2021-05-23T08:50:16.237" v="265"/>
          <ac:spMkLst>
            <pc:docMk/>
            <pc:sldMk cId="987434139" sldId="834"/>
            <ac:spMk id="9" creationId="{9BEBE618-CE97-42A2-BC81-CCAE800CEBAA}"/>
          </ac:spMkLst>
        </pc:spChg>
        <pc:grpChg chg="add mod">
          <ac:chgData name="Thomas Stensitzki" userId="75cafe6b-2f2a-469b-85c4-eec3b9c972ba" providerId="ADAL" clId="{5A5E689C-724C-4B73-8F29-D21652CCA886}" dt="2021-06-03T18:49:05.608" v="4557" actId="164"/>
          <ac:grpSpMkLst>
            <pc:docMk/>
            <pc:sldMk cId="987434139" sldId="834"/>
            <ac:grpSpMk id="5" creationId="{A03A9387-F37A-412A-8BE8-3F008235BEB8}"/>
          </ac:grpSpMkLst>
        </pc:grpChg>
        <pc:picChg chg="add mod">
          <ac:chgData name="Thomas Stensitzki" userId="75cafe6b-2f2a-469b-85c4-eec3b9c972ba" providerId="ADAL" clId="{5A5E689C-724C-4B73-8F29-D21652CCA886}" dt="2021-06-03T18:49:05.608" v="4557" actId="164"/>
          <ac:picMkLst>
            <pc:docMk/>
            <pc:sldMk cId="987434139" sldId="834"/>
            <ac:picMk id="4" creationId="{D0135DFE-3DBF-44BE-9D4E-7132EEB6127F}"/>
          </ac:picMkLst>
        </pc:picChg>
        <pc:picChg chg="add del mod">
          <ac:chgData name="Thomas Stensitzki" userId="75cafe6b-2f2a-469b-85c4-eec3b9c972ba" providerId="ADAL" clId="{5A5E689C-724C-4B73-8F29-D21652CCA886}" dt="2021-06-03T06:20:04.297" v="3871" actId="478"/>
          <ac:picMkLst>
            <pc:docMk/>
            <pc:sldMk cId="987434139" sldId="834"/>
            <ac:picMk id="5" creationId="{B5960124-6A1F-4751-B866-7B8EB09C60E7}"/>
          </ac:picMkLst>
        </pc:picChg>
      </pc:sldChg>
      <pc:sldChg chg="addSp delSp modSp new mod addAnim delAnim modAnim">
        <pc:chgData name="Thomas Stensitzki" userId="75cafe6b-2f2a-469b-85c4-eec3b9c972ba" providerId="ADAL" clId="{5A5E689C-724C-4B73-8F29-D21652CCA886}" dt="2021-06-04T06:05:45.375" v="4568"/>
        <pc:sldMkLst>
          <pc:docMk/>
          <pc:sldMk cId="2583675941" sldId="835"/>
        </pc:sldMkLst>
        <pc:spChg chg="mod">
          <ac:chgData name="Thomas Stensitzki" userId="75cafe6b-2f2a-469b-85c4-eec3b9c972ba" providerId="ADAL" clId="{5A5E689C-724C-4B73-8F29-D21652CCA886}" dt="2021-05-23T09:11:03.612" v="1064"/>
          <ac:spMkLst>
            <pc:docMk/>
            <pc:sldMk cId="2583675941" sldId="835"/>
            <ac:spMk id="2" creationId="{A48F1F85-D3E8-4132-A5AD-008DEEC239BD}"/>
          </ac:spMkLst>
        </pc:spChg>
        <pc:spChg chg="mod">
          <ac:chgData name="Thomas Stensitzki" userId="75cafe6b-2f2a-469b-85c4-eec3b9c972ba" providerId="ADAL" clId="{5A5E689C-724C-4B73-8F29-D21652CCA886}" dt="2021-05-23T09:17:24.525" v="1253" actId="6549"/>
          <ac:spMkLst>
            <pc:docMk/>
            <pc:sldMk cId="2583675941" sldId="835"/>
            <ac:spMk id="3" creationId="{70F72FBA-9A5D-45D2-A09B-23B574844C8D}"/>
          </ac:spMkLst>
        </pc:spChg>
        <pc:spChg chg="del">
          <ac:chgData name="Thomas Stensitzki" userId="75cafe6b-2f2a-469b-85c4-eec3b9c972ba" providerId="ADAL" clId="{5A5E689C-724C-4B73-8F29-D21652CCA886}" dt="2021-05-23T09:06:52.064" v="1029" actId="478"/>
          <ac:spMkLst>
            <pc:docMk/>
            <pc:sldMk cId="2583675941" sldId="835"/>
            <ac:spMk id="4" creationId="{6442C1D0-F78D-4BBC-B8C9-2685A9518379}"/>
          </ac:spMkLst>
        </pc:spChg>
        <pc:spChg chg="mod">
          <ac:chgData name="Thomas Stensitzki" userId="75cafe6b-2f2a-469b-85c4-eec3b9c972ba" providerId="ADAL" clId="{5A5E689C-724C-4B73-8F29-D21652CCA886}" dt="2021-05-23T09:25:20.666" v="1683" actId="20577"/>
          <ac:spMkLst>
            <pc:docMk/>
            <pc:sldMk cId="2583675941" sldId="835"/>
            <ac:spMk id="5" creationId="{C9636EDD-A797-4F83-A94E-E0C31CCE6E84}"/>
          </ac:spMkLst>
        </pc:spChg>
        <pc:spChg chg="add del mod ord">
          <ac:chgData name="Thomas Stensitzki" userId="75cafe6b-2f2a-469b-85c4-eec3b9c972ba" providerId="ADAL" clId="{5A5E689C-724C-4B73-8F29-D21652CCA886}" dt="2021-05-23T09:17:40.465" v="1255" actId="478"/>
          <ac:spMkLst>
            <pc:docMk/>
            <pc:sldMk cId="2583675941" sldId="835"/>
            <ac:spMk id="6" creationId="{DCD2C676-ACFC-4E3D-9609-0FC5D68F94EC}"/>
          </ac:spMkLst>
        </pc:spChg>
        <pc:spChg chg="mod">
          <ac:chgData name="Thomas Stensitzki" userId="75cafe6b-2f2a-469b-85c4-eec3b9c972ba" providerId="ADAL" clId="{5A5E689C-724C-4B73-8F29-D21652CCA886}" dt="2021-05-23T09:32:15.641" v="1710" actId="255"/>
          <ac:spMkLst>
            <pc:docMk/>
            <pc:sldMk cId="2583675941" sldId="835"/>
            <ac:spMk id="11" creationId="{A0C998E8-C253-441B-81A3-3669BE3F96C1}"/>
          </ac:spMkLst>
        </pc:spChg>
        <pc:spChg chg="add mod">
          <ac:chgData name="Thomas Stensitzki" userId="75cafe6b-2f2a-469b-85c4-eec3b9c972ba" providerId="ADAL" clId="{5A5E689C-724C-4B73-8F29-D21652CCA886}" dt="2021-05-23T09:17:52.597" v="1256" actId="207"/>
          <ac:spMkLst>
            <pc:docMk/>
            <pc:sldMk cId="2583675941" sldId="835"/>
            <ac:spMk id="12" creationId="{F39530C4-F23C-4006-806A-C905766B8F82}"/>
          </ac:spMkLst>
        </pc:spChg>
        <pc:spChg chg="add mod">
          <ac:chgData name="Thomas Stensitzki" userId="75cafe6b-2f2a-469b-85c4-eec3b9c972ba" providerId="ADAL" clId="{5A5E689C-724C-4B73-8F29-D21652CCA886}" dt="2021-05-23T09:17:11.034" v="1229" actId="20577"/>
          <ac:spMkLst>
            <pc:docMk/>
            <pc:sldMk cId="2583675941" sldId="835"/>
            <ac:spMk id="14" creationId="{08030142-0390-4036-927C-7A8ED0B8057C}"/>
          </ac:spMkLst>
        </pc:spChg>
        <pc:spChg chg="mod">
          <ac:chgData name="Thomas Stensitzki" userId="75cafe6b-2f2a-469b-85c4-eec3b9c972ba" providerId="ADAL" clId="{5A5E689C-724C-4B73-8F29-D21652CCA886}" dt="2021-05-23T09:31:29.353" v="1709" actId="207"/>
          <ac:spMkLst>
            <pc:docMk/>
            <pc:sldMk cId="2583675941" sldId="835"/>
            <ac:spMk id="17" creationId="{18266FB6-04F5-4854-BC0A-025EE32B6853}"/>
          </ac:spMkLst>
        </pc:spChg>
        <pc:spChg chg="mod">
          <ac:chgData name="Thomas Stensitzki" userId="75cafe6b-2f2a-469b-85c4-eec3b9c972ba" providerId="ADAL" clId="{5A5E689C-724C-4B73-8F29-D21652CCA886}" dt="2021-05-23T09:31:22.495" v="1708" actId="207"/>
          <ac:spMkLst>
            <pc:docMk/>
            <pc:sldMk cId="2583675941" sldId="835"/>
            <ac:spMk id="20" creationId="{ABFE629E-1FF3-490B-8D0B-E5EEAD8133CD}"/>
          </ac:spMkLst>
        </pc:spChg>
        <pc:spChg chg="mod">
          <ac:chgData name="Thomas Stensitzki" userId="75cafe6b-2f2a-469b-85c4-eec3b9c972ba" providerId="ADAL" clId="{5A5E689C-724C-4B73-8F29-D21652CCA886}" dt="2021-05-23T09:31:19.980" v="1707" actId="207"/>
          <ac:spMkLst>
            <pc:docMk/>
            <pc:sldMk cId="2583675941" sldId="835"/>
            <ac:spMk id="22" creationId="{DC13ABB3-2737-486C-BA87-90967E3868BE}"/>
          </ac:spMkLst>
        </pc:spChg>
        <pc:spChg chg="add mod">
          <ac:chgData name="Thomas Stensitzki" userId="75cafe6b-2f2a-469b-85c4-eec3b9c972ba" providerId="ADAL" clId="{5A5E689C-724C-4B73-8F29-D21652CCA886}" dt="2021-05-23T09:17:18.825" v="1252" actId="6549"/>
          <ac:spMkLst>
            <pc:docMk/>
            <pc:sldMk cId="2583675941" sldId="835"/>
            <ac:spMk id="27" creationId="{677B481F-46B9-4903-BBF4-57E97D920D71}"/>
          </ac:spMkLst>
        </pc:spChg>
        <pc:spChg chg="add mod">
          <ac:chgData name="Thomas Stensitzki" userId="75cafe6b-2f2a-469b-85c4-eec3b9c972ba" providerId="ADAL" clId="{5A5E689C-724C-4B73-8F29-D21652CCA886}" dt="2021-06-04T06:05:24.600" v="4567" actId="207"/>
          <ac:spMkLst>
            <pc:docMk/>
            <pc:sldMk cId="2583675941" sldId="835"/>
            <ac:spMk id="32" creationId="{7BC83492-D67D-4063-A08F-5A3469F3DA49}"/>
          </ac:spMkLst>
        </pc:spChg>
        <pc:spChg chg="add mod">
          <ac:chgData name="Thomas Stensitzki" userId="75cafe6b-2f2a-469b-85c4-eec3b9c972ba" providerId="ADAL" clId="{5A5E689C-724C-4B73-8F29-D21652CCA886}" dt="2021-05-23T09:16:51.295" v="1219" actId="14100"/>
          <ac:spMkLst>
            <pc:docMk/>
            <pc:sldMk cId="2583675941" sldId="835"/>
            <ac:spMk id="33" creationId="{6AE94663-3D75-4BAE-873B-D56A033BA5F2}"/>
          </ac:spMkLst>
        </pc:spChg>
        <pc:spChg chg="add mod">
          <ac:chgData name="Thomas Stensitzki" userId="75cafe6b-2f2a-469b-85c4-eec3b9c972ba" providerId="ADAL" clId="{5A5E689C-724C-4B73-8F29-D21652CCA886}" dt="2021-05-23T09:32:36.274" v="1714" actId="1037"/>
          <ac:spMkLst>
            <pc:docMk/>
            <pc:sldMk cId="2583675941" sldId="835"/>
            <ac:spMk id="34" creationId="{EB3A317A-C698-44E9-920F-E6ECB632B003}"/>
          </ac:spMkLst>
        </pc:spChg>
        <pc:spChg chg="add mod">
          <ac:chgData name="Thomas Stensitzki" userId="75cafe6b-2f2a-469b-85c4-eec3b9c972ba" providerId="ADAL" clId="{5A5E689C-724C-4B73-8F29-D21652CCA886}" dt="2021-05-23T09:29:30.049" v="1699" actId="207"/>
          <ac:spMkLst>
            <pc:docMk/>
            <pc:sldMk cId="2583675941" sldId="835"/>
            <ac:spMk id="35" creationId="{99DECCC5-F5FD-4B89-9DE5-B796A3FD7DB7}"/>
          </ac:spMkLst>
        </pc:spChg>
        <pc:grpChg chg="add mod">
          <ac:chgData name="Thomas Stensitzki" userId="75cafe6b-2f2a-469b-85c4-eec3b9c972ba" providerId="ADAL" clId="{5A5E689C-724C-4B73-8F29-D21652CCA886}" dt="2021-05-23T09:16:51.295" v="1219" actId="14100"/>
          <ac:grpSpMkLst>
            <pc:docMk/>
            <pc:sldMk cId="2583675941" sldId="835"/>
            <ac:grpSpMk id="7" creationId="{DB64AE43-020F-434B-9813-371B8654FAB3}"/>
          </ac:grpSpMkLst>
        </pc:grpChg>
        <pc:grpChg chg="add mod">
          <ac:chgData name="Thomas Stensitzki" userId="75cafe6b-2f2a-469b-85c4-eec3b9c972ba" providerId="ADAL" clId="{5A5E689C-724C-4B73-8F29-D21652CCA886}" dt="2021-05-23T09:16:51.295" v="1219" actId="14100"/>
          <ac:grpSpMkLst>
            <pc:docMk/>
            <pc:sldMk cId="2583675941" sldId="835"/>
            <ac:grpSpMk id="16" creationId="{5E2299D7-8B4A-4AB9-BD57-6D5A31BFC8DA}"/>
          </ac:grpSpMkLst>
        </pc:grpChg>
        <pc:grpChg chg="mod">
          <ac:chgData name="Thomas Stensitzki" userId="75cafe6b-2f2a-469b-85c4-eec3b9c972ba" providerId="ADAL" clId="{5A5E689C-724C-4B73-8F29-D21652CCA886}" dt="2021-05-23T09:15:43.809" v="1211"/>
          <ac:grpSpMkLst>
            <pc:docMk/>
            <pc:sldMk cId="2583675941" sldId="835"/>
            <ac:grpSpMk id="19" creationId="{E14314E4-7271-4224-9CB7-60B3AEAFB0CC}"/>
          </ac:grpSpMkLst>
        </pc:grpChg>
        <pc:picChg chg="mod">
          <ac:chgData name="Thomas Stensitzki" userId="75cafe6b-2f2a-469b-85c4-eec3b9c972ba" providerId="ADAL" clId="{5A5E689C-724C-4B73-8F29-D21652CCA886}" dt="2021-05-23T09:15:43.809" v="1211"/>
          <ac:picMkLst>
            <pc:docMk/>
            <pc:sldMk cId="2583675941" sldId="835"/>
            <ac:picMk id="8" creationId="{3570776A-9B18-401C-AFB4-49FB5C9CBC73}"/>
          </ac:picMkLst>
        </pc:picChg>
        <pc:picChg chg="mod">
          <ac:chgData name="Thomas Stensitzki" userId="75cafe6b-2f2a-469b-85c4-eec3b9c972ba" providerId="ADAL" clId="{5A5E689C-724C-4B73-8F29-D21652CCA886}" dt="2021-05-23T09:15:43.809" v="1211"/>
          <ac:picMkLst>
            <pc:docMk/>
            <pc:sldMk cId="2583675941" sldId="835"/>
            <ac:picMk id="9" creationId="{BD9FDF06-BEFB-4778-8985-AE98151D68CC}"/>
          </ac:picMkLst>
        </pc:picChg>
        <pc:picChg chg="mod">
          <ac:chgData name="Thomas Stensitzki" userId="75cafe6b-2f2a-469b-85c4-eec3b9c972ba" providerId="ADAL" clId="{5A5E689C-724C-4B73-8F29-D21652CCA886}" dt="2021-05-23T09:15:43.809" v="1211"/>
          <ac:picMkLst>
            <pc:docMk/>
            <pc:sldMk cId="2583675941" sldId="835"/>
            <ac:picMk id="10" creationId="{A1DD6A51-C498-4C9F-83E0-9DEA2EA4B98B}"/>
          </ac:picMkLst>
        </pc:picChg>
        <pc:picChg chg="add mod">
          <ac:chgData name="Thomas Stensitzki" userId="75cafe6b-2f2a-469b-85c4-eec3b9c972ba" providerId="ADAL" clId="{5A5E689C-724C-4B73-8F29-D21652CCA886}" dt="2021-05-23T09:16:51.295" v="1219" actId="14100"/>
          <ac:picMkLst>
            <pc:docMk/>
            <pc:sldMk cId="2583675941" sldId="835"/>
            <ac:picMk id="13" creationId="{F4D2F872-BA35-4009-9EBA-81E4A102FD64}"/>
          </ac:picMkLst>
        </pc:picChg>
        <pc:picChg chg="add mod">
          <ac:chgData name="Thomas Stensitzki" userId="75cafe6b-2f2a-469b-85c4-eec3b9c972ba" providerId="ADAL" clId="{5A5E689C-724C-4B73-8F29-D21652CCA886}" dt="2021-05-23T09:16:51.295" v="1219" actId="14100"/>
          <ac:picMkLst>
            <pc:docMk/>
            <pc:sldMk cId="2583675941" sldId="835"/>
            <ac:picMk id="15" creationId="{2C9FB36F-8FA1-41FC-91DA-218D6FA887C1}"/>
          </ac:picMkLst>
        </pc:picChg>
        <pc:picChg chg="mod">
          <ac:chgData name="Thomas Stensitzki" userId="75cafe6b-2f2a-469b-85c4-eec3b9c972ba" providerId="ADAL" clId="{5A5E689C-724C-4B73-8F29-D21652CCA886}" dt="2021-05-23T09:15:43.809" v="1211"/>
          <ac:picMkLst>
            <pc:docMk/>
            <pc:sldMk cId="2583675941" sldId="835"/>
            <ac:picMk id="18" creationId="{DCD50DB8-2CBD-4C26-A295-D87E78CF76EC}"/>
          </ac:picMkLst>
        </pc:picChg>
        <pc:picChg chg="mod ord">
          <ac:chgData name="Thomas Stensitzki" userId="75cafe6b-2f2a-469b-85c4-eec3b9c972ba" providerId="ADAL" clId="{5A5E689C-724C-4B73-8F29-D21652CCA886}" dt="2021-05-23T09:31:10.493" v="1706" actId="166"/>
          <ac:picMkLst>
            <pc:docMk/>
            <pc:sldMk cId="2583675941" sldId="835"/>
            <ac:picMk id="21" creationId="{074A8313-36F6-47C6-8329-ABFA32B5C6D2}"/>
          </ac:picMkLst>
        </pc:picChg>
        <pc:picChg chg="add mod">
          <ac:chgData name="Thomas Stensitzki" userId="75cafe6b-2f2a-469b-85c4-eec3b9c972ba" providerId="ADAL" clId="{5A5E689C-724C-4B73-8F29-D21652CCA886}" dt="2021-05-23T09:16:51.295" v="1219" actId="14100"/>
          <ac:picMkLst>
            <pc:docMk/>
            <pc:sldMk cId="2583675941" sldId="835"/>
            <ac:picMk id="24" creationId="{9B8FF53E-B861-44DD-BF94-9C3F944D9A2E}"/>
          </ac:picMkLst>
        </pc:picChg>
        <pc:picChg chg="add del mod">
          <ac:chgData name="Thomas Stensitzki" userId="75cafe6b-2f2a-469b-85c4-eec3b9c972ba" providerId="ADAL" clId="{5A5E689C-724C-4B73-8F29-D21652CCA886}" dt="2021-06-03T06:19:58.322" v="3868" actId="478"/>
          <ac:picMkLst>
            <pc:docMk/>
            <pc:sldMk cId="2583675941" sldId="835"/>
            <ac:picMk id="36" creationId="{652BD51E-42C7-4252-90DE-45F3ACAAB754}"/>
          </ac:picMkLst>
        </pc:picChg>
        <pc:cxnChg chg="add mod ord">
          <ac:chgData name="Thomas Stensitzki" userId="75cafe6b-2f2a-469b-85c4-eec3b9c972ba" providerId="ADAL" clId="{5A5E689C-724C-4B73-8F29-D21652CCA886}" dt="2021-05-23T09:28:36.708" v="1696" actId="166"/>
          <ac:cxnSpMkLst>
            <pc:docMk/>
            <pc:sldMk cId="2583675941" sldId="835"/>
            <ac:cxnSpMk id="23" creationId="{648DD71E-4F0B-4040-A302-551C871DF85C}"/>
          </ac:cxnSpMkLst>
        </pc:cxnChg>
        <pc:cxnChg chg="add mod">
          <ac:chgData name="Thomas Stensitzki" userId="75cafe6b-2f2a-469b-85c4-eec3b9c972ba" providerId="ADAL" clId="{5A5E689C-724C-4B73-8F29-D21652CCA886}" dt="2021-05-23T09:32:30.529" v="1711" actId="1037"/>
          <ac:cxnSpMkLst>
            <pc:docMk/>
            <pc:sldMk cId="2583675941" sldId="835"/>
            <ac:cxnSpMk id="25" creationId="{2D830BE5-96FE-4529-8993-9F708F192598}"/>
          </ac:cxnSpMkLst>
        </pc:cxnChg>
        <pc:cxnChg chg="add mod">
          <ac:chgData name="Thomas Stensitzki" userId="75cafe6b-2f2a-469b-85c4-eec3b9c972ba" providerId="ADAL" clId="{5A5E689C-724C-4B73-8F29-D21652CCA886}" dt="2021-05-23T09:16:51.295" v="1219" actId="14100"/>
          <ac:cxnSpMkLst>
            <pc:docMk/>
            <pc:sldMk cId="2583675941" sldId="835"/>
            <ac:cxnSpMk id="26" creationId="{12310F31-D384-4496-BB1C-44B68930668B}"/>
          </ac:cxnSpMkLst>
        </pc:cxnChg>
        <pc:cxnChg chg="add mod">
          <ac:chgData name="Thomas Stensitzki" userId="75cafe6b-2f2a-469b-85c4-eec3b9c972ba" providerId="ADAL" clId="{5A5E689C-724C-4B73-8F29-D21652CCA886}" dt="2021-05-23T09:16:51.295" v="1219" actId="14100"/>
          <ac:cxnSpMkLst>
            <pc:docMk/>
            <pc:sldMk cId="2583675941" sldId="835"/>
            <ac:cxnSpMk id="28" creationId="{EE3E5E53-2BEE-4307-AEB6-4164E8AAEF7C}"/>
          </ac:cxnSpMkLst>
        </pc:cxnChg>
        <pc:cxnChg chg="add mod">
          <ac:chgData name="Thomas Stensitzki" userId="75cafe6b-2f2a-469b-85c4-eec3b9c972ba" providerId="ADAL" clId="{5A5E689C-724C-4B73-8F29-D21652CCA886}" dt="2021-05-23T09:29:11.455" v="1697" actId="208"/>
          <ac:cxnSpMkLst>
            <pc:docMk/>
            <pc:sldMk cId="2583675941" sldId="835"/>
            <ac:cxnSpMk id="29" creationId="{B0AFFEB7-810C-402A-B1F7-6195017D4D8C}"/>
          </ac:cxnSpMkLst>
        </pc:cxnChg>
        <pc:cxnChg chg="add mod">
          <ac:chgData name="Thomas Stensitzki" userId="75cafe6b-2f2a-469b-85c4-eec3b9c972ba" providerId="ADAL" clId="{5A5E689C-724C-4B73-8F29-D21652CCA886}" dt="2021-05-23T09:29:35.081" v="1700" actId="208"/>
          <ac:cxnSpMkLst>
            <pc:docMk/>
            <pc:sldMk cId="2583675941" sldId="835"/>
            <ac:cxnSpMk id="30" creationId="{1EA521DD-F4F4-4707-AC70-AB1C41740AAC}"/>
          </ac:cxnSpMkLst>
        </pc:cxnChg>
        <pc:cxnChg chg="add mod">
          <ac:chgData name="Thomas Stensitzki" userId="75cafe6b-2f2a-469b-85c4-eec3b9c972ba" providerId="ADAL" clId="{5A5E689C-724C-4B73-8F29-D21652CCA886}" dt="2021-05-23T09:16:51.295" v="1219" actId="14100"/>
          <ac:cxnSpMkLst>
            <pc:docMk/>
            <pc:sldMk cId="2583675941" sldId="835"/>
            <ac:cxnSpMk id="31" creationId="{DE4E858F-3ACA-41F9-937D-68CC1686FC3A}"/>
          </ac:cxnSpMkLst>
        </pc:cxnChg>
      </pc:sldChg>
      <pc:sldChg chg="addSp delSp modSp add mod modClrScheme delAnim modAnim chgLayout">
        <pc:chgData name="Thomas Stensitzki" userId="75cafe6b-2f2a-469b-85c4-eec3b9c972ba" providerId="ADAL" clId="{5A5E689C-724C-4B73-8F29-D21652CCA886}" dt="2021-06-04T06:10:21.089" v="4609" actId="20577"/>
        <pc:sldMkLst>
          <pc:docMk/>
          <pc:sldMk cId="94532967" sldId="836"/>
        </pc:sldMkLst>
        <pc:spChg chg="add del mod">
          <ac:chgData name="Thomas Stensitzki" userId="75cafe6b-2f2a-469b-85c4-eec3b9c972ba" providerId="ADAL" clId="{5A5E689C-724C-4B73-8F29-D21652CCA886}" dt="2021-05-23T09:01:25.627" v="886" actId="700"/>
          <ac:spMkLst>
            <pc:docMk/>
            <pc:sldMk cId="94532967" sldId="836"/>
            <ac:spMk id="3" creationId="{E4E16E76-3ACC-499A-B586-EEF8A9430B1C}"/>
          </ac:spMkLst>
        </pc:spChg>
        <pc:spChg chg="mod ord">
          <ac:chgData name="Thomas Stensitzki" userId="75cafe6b-2f2a-469b-85c4-eec3b9c972ba" providerId="ADAL" clId="{5A5E689C-724C-4B73-8F29-D21652CCA886}" dt="2021-05-23T09:01:25.627" v="886" actId="700"/>
          <ac:spMkLst>
            <pc:docMk/>
            <pc:sldMk cId="94532967" sldId="836"/>
            <ac:spMk id="7" creationId="{26602B0E-8DB9-4597-90FA-9A97A8C968A3}"/>
          </ac:spMkLst>
        </pc:spChg>
        <pc:spChg chg="del">
          <ac:chgData name="Thomas Stensitzki" userId="75cafe6b-2f2a-469b-85c4-eec3b9c972ba" providerId="ADAL" clId="{5A5E689C-724C-4B73-8F29-D21652CCA886}" dt="2021-05-23T09:01:16.450" v="885" actId="478"/>
          <ac:spMkLst>
            <pc:docMk/>
            <pc:sldMk cId="94532967" sldId="836"/>
            <ac:spMk id="8" creationId="{80A521FF-F359-4C69-BB72-D04E77E6BD7C}"/>
          </ac:spMkLst>
        </pc:spChg>
        <pc:spChg chg="mod ord">
          <ac:chgData name="Thomas Stensitzki" userId="75cafe6b-2f2a-469b-85c4-eec3b9c972ba" providerId="ADAL" clId="{5A5E689C-724C-4B73-8F29-D21652CCA886}" dt="2021-06-03T06:29:03.975" v="3945" actId="20577"/>
          <ac:spMkLst>
            <pc:docMk/>
            <pc:sldMk cId="94532967" sldId="836"/>
            <ac:spMk id="9" creationId="{9BEBE618-CE97-42A2-BC81-CCAE800CEBAA}"/>
          </ac:spMkLst>
        </pc:spChg>
        <pc:spChg chg="add mod">
          <ac:chgData name="Thomas Stensitzki" userId="75cafe6b-2f2a-469b-85c4-eec3b9c972ba" providerId="ADAL" clId="{5A5E689C-724C-4B73-8F29-D21652CCA886}" dt="2021-06-04T06:08:56.447" v="4591" actId="1076"/>
          <ac:spMkLst>
            <pc:docMk/>
            <pc:sldMk cId="94532967" sldId="836"/>
            <ac:spMk id="10" creationId="{B2C0495A-1F7E-4F2B-A7BD-53D47E1959BC}"/>
          </ac:spMkLst>
        </pc:spChg>
        <pc:spChg chg="add mod">
          <ac:chgData name="Thomas Stensitzki" userId="75cafe6b-2f2a-469b-85c4-eec3b9c972ba" providerId="ADAL" clId="{5A5E689C-724C-4B73-8F29-D21652CCA886}" dt="2021-05-23T09:01:38.484" v="887"/>
          <ac:spMkLst>
            <pc:docMk/>
            <pc:sldMk cId="94532967" sldId="836"/>
            <ac:spMk id="11" creationId="{24BD08B3-8BCA-4A3D-A055-EA756BA9EDE9}"/>
          </ac:spMkLst>
        </pc:spChg>
        <pc:spChg chg="add mod">
          <ac:chgData name="Thomas Stensitzki" userId="75cafe6b-2f2a-469b-85c4-eec3b9c972ba" providerId="ADAL" clId="{5A5E689C-724C-4B73-8F29-D21652CCA886}" dt="2021-05-23T09:01:38.484" v="887"/>
          <ac:spMkLst>
            <pc:docMk/>
            <pc:sldMk cId="94532967" sldId="836"/>
            <ac:spMk id="12" creationId="{B2B9E05E-60BD-4175-8316-0A0B9A2B6786}"/>
          </ac:spMkLst>
        </pc:spChg>
        <pc:spChg chg="add mod">
          <ac:chgData name="Thomas Stensitzki" userId="75cafe6b-2f2a-469b-85c4-eec3b9c972ba" providerId="ADAL" clId="{5A5E689C-724C-4B73-8F29-D21652CCA886}" dt="2021-05-23T09:01:38.484" v="887"/>
          <ac:spMkLst>
            <pc:docMk/>
            <pc:sldMk cId="94532967" sldId="836"/>
            <ac:spMk id="13" creationId="{A693F46A-5EB2-4F21-8F9B-A838954F4BFB}"/>
          </ac:spMkLst>
        </pc:spChg>
        <pc:spChg chg="add mod">
          <ac:chgData name="Thomas Stensitzki" userId="75cafe6b-2f2a-469b-85c4-eec3b9c972ba" providerId="ADAL" clId="{5A5E689C-724C-4B73-8F29-D21652CCA886}" dt="2021-05-23T09:01:38.484" v="887"/>
          <ac:spMkLst>
            <pc:docMk/>
            <pc:sldMk cId="94532967" sldId="836"/>
            <ac:spMk id="14" creationId="{893121B5-32D3-4DAE-89FE-F95B93A78339}"/>
          </ac:spMkLst>
        </pc:spChg>
        <pc:spChg chg="add mod">
          <ac:chgData name="Thomas Stensitzki" userId="75cafe6b-2f2a-469b-85c4-eec3b9c972ba" providerId="ADAL" clId="{5A5E689C-724C-4B73-8F29-D21652CCA886}" dt="2021-05-23T09:01:38.484" v="887"/>
          <ac:spMkLst>
            <pc:docMk/>
            <pc:sldMk cId="94532967" sldId="836"/>
            <ac:spMk id="15" creationId="{FC60CA73-FCF2-43C1-A826-1ADEFF2E9F3A}"/>
          </ac:spMkLst>
        </pc:spChg>
        <pc:spChg chg="add mod">
          <ac:chgData name="Thomas Stensitzki" userId="75cafe6b-2f2a-469b-85c4-eec3b9c972ba" providerId="ADAL" clId="{5A5E689C-724C-4B73-8F29-D21652CCA886}" dt="2021-05-23T09:01:38.484" v="887"/>
          <ac:spMkLst>
            <pc:docMk/>
            <pc:sldMk cId="94532967" sldId="836"/>
            <ac:spMk id="16" creationId="{43E94604-08D4-45D7-AC0B-443F3F8E726E}"/>
          </ac:spMkLst>
        </pc:spChg>
        <pc:spChg chg="add mod">
          <ac:chgData name="Thomas Stensitzki" userId="75cafe6b-2f2a-469b-85c4-eec3b9c972ba" providerId="ADAL" clId="{5A5E689C-724C-4B73-8F29-D21652CCA886}" dt="2021-05-23T09:01:38.484" v="887"/>
          <ac:spMkLst>
            <pc:docMk/>
            <pc:sldMk cId="94532967" sldId="836"/>
            <ac:spMk id="17" creationId="{9BA7ED5C-7D63-4D95-B7D0-AF6F2DD0F049}"/>
          </ac:spMkLst>
        </pc:spChg>
        <pc:spChg chg="add mod">
          <ac:chgData name="Thomas Stensitzki" userId="75cafe6b-2f2a-469b-85c4-eec3b9c972ba" providerId="ADAL" clId="{5A5E689C-724C-4B73-8F29-D21652CCA886}" dt="2021-06-04T06:09:08.508" v="4594" actId="14100"/>
          <ac:spMkLst>
            <pc:docMk/>
            <pc:sldMk cId="94532967" sldId="836"/>
            <ac:spMk id="20" creationId="{75BC261B-60C4-440C-BEC8-5AD614BF26DD}"/>
          </ac:spMkLst>
        </pc:spChg>
        <pc:spChg chg="add mod">
          <ac:chgData name="Thomas Stensitzki" userId="75cafe6b-2f2a-469b-85c4-eec3b9c972ba" providerId="ADAL" clId="{5A5E689C-724C-4B73-8F29-D21652CCA886}" dt="2021-05-23T09:08:09.160" v="1038" actId="1076"/>
          <ac:spMkLst>
            <pc:docMk/>
            <pc:sldMk cId="94532967" sldId="836"/>
            <ac:spMk id="29" creationId="{C5ED4FAD-1164-48EE-9A92-B59B8A1056F0}"/>
          </ac:spMkLst>
        </pc:spChg>
        <pc:spChg chg="add mod">
          <ac:chgData name="Thomas Stensitzki" userId="75cafe6b-2f2a-469b-85c4-eec3b9c972ba" providerId="ADAL" clId="{5A5E689C-724C-4B73-8F29-D21652CCA886}" dt="2021-05-23T09:01:38.484" v="887"/>
          <ac:spMkLst>
            <pc:docMk/>
            <pc:sldMk cId="94532967" sldId="836"/>
            <ac:spMk id="30" creationId="{E45C1273-31F9-44DB-95D1-01453CA2B106}"/>
          </ac:spMkLst>
        </pc:spChg>
        <pc:spChg chg="add mod">
          <ac:chgData name="Thomas Stensitzki" userId="75cafe6b-2f2a-469b-85c4-eec3b9c972ba" providerId="ADAL" clId="{5A5E689C-724C-4B73-8F29-D21652CCA886}" dt="2021-05-23T09:10:07.134" v="1062" actId="1037"/>
          <ac:spMkLst>
            <pc:docMk/>
            <pc:sldMk cId="94532967" sldId="836"/>
            <ac:spMk id="31" creationId="{3D637EF9-E985-4EA9-9B42-ED757D61EC49}"/>
          </ac:spMkLst>
        </pc:spChg>
        <pc:spChg chg="add mod">
          <ac:chgData name="Thomas Stensitzki" userId="75cafe6b-2f2a-469b-85c4-eec3b9c972ba" providerId="ADAL" clId="{5A5E689C-724C-4B73-8F29-D21652CCA886}" dt="2021-06-04T06:10:21.089" v="4609" actId="20577"/>
          <ac:spMkLst>
            <pc:docMk/>
            <pc:sldMk cId="94532967" sldId="836"/>
            <ac:spMk id="32" creationId="{EA935BF7-4C4E-4C23-AFA0-7BB2559B5D5B}"/>
          </ac:spMkLst>
        </pc:spChg>
        <pc:spChg chg="add mod">
          <ac:chgData name="Thomas Stensitzki" userId="75cafe6b-2f2a-469b-85c4-eec3b9c972ba" providerId="ADAL" clId="{5A5E689C-724C-4B73-8F29-D21652CCA886}" dt="2021-06-04T06:09:23.102" v="4596" actId="1076"/>
          <ac:spMkLst>
            <pc:docMk/>
            <pc:sldMk cId="94532967" sldId="836"/>
            <ac:spMk id="37" creationId="{F032A098-41FB-4FBB-A5D2-5232BEB9394A}"/>
          </ac:spMkLst>
        </pc:spChg>
        <pc:spChg chg="add del mod">
          <ac:chgData name="Thomas Stensitzki" userId="75cafe6b-2f2a-469b-85c4-eec3b9c972ba" providerId="ADAL" clId="{5A5E689C-724C-4B73-8F29-D21652CCA886}" dt="2021-05-23T09:09:07.108" v="1044" actId="478"/>
          <ac:spMkLst>
            <pc:docMk/>
            <pc:sldMk cId="94532967" sldId="836"/>
            <ac:spMk id="37" creationId="{F85BE332-89F1-4EDD-B4F6-168ED81C5A45}"/>
          </ac:spMkLst>
        </pc:spChg>
        <pc:picChg chg="add mod">
          <ac:chgData name="Thomas Stensitzki" userId="75cafe6b-2f2a-469b-85c4-eec3b9c972ba" providerId="ADAL" clId="{5A5E689C-724C-4B73-8F29-D21652CCA886}" dt="2021-06-04T06:09:16.014" v="4595" actId="1076"/>
          <ac:picMkLst>
            <pc:docMk/>
            <pc:sldMk cId="94532967" sldId="836"/>
            <ac:picMk id="23" creationId="{3F01C4F3-4F3B-41AC-A030-B02EC75ED011}"/>
          </ac:picMkLst>
        </pc:picChg>
        <pc:picChg chg="add mod">
          <ac:chgData name="Thomas Stensitzki" userId="75cafe6b-2f2a-469b-85c4-eec3b9c972ba" providerId="ADAL" clId="{5A5E689C-724C-4B73-8F29-D21652CCA886}" dt="2021-05-23T09:01:38.484" v="887"/>
          <ac:picMkLst>
            <pc:docMk/>
            <pc:sldMk cId="94532967" sldId="836"/>
            <ac:picMk id="24" creationId="{53661BAA-1D39-4A03-B88F-066A26063FB6}"/>
          </ac:picMkLst>
        </pc:picChg>
        <pc:picChg chg="add mod">
          <ac:chgData name="Thomas Stensitzki" userId="75cafe6b-2f2a-469b-85c4-eec3b9c972ba" providerId="ADAL" clId="{5A5E689C-724C-4B73-8F29-D21652CCA886}" dt="2021-05-23T09:01:38.484" v="887"/>
          <ac:picMkLst>
            <pc:docMk/>
            <pc:sldMk cId="94532967" sldId="836"/>
            <ac:picMk id="25" creationId="{EB2CA576-2427-45AB-A22B-5F623703F46B}"/>
          </ac:picMkLst>
        </pc:picChg>
        <pc:picChg chg="add mod">
          <ac:chgData name="Thomas Stensitzki" userId="75cafe6b-2f2a-469b-85c4-eec3b9c972ba" providerId="ADAL" clId="{5A5E689C-724C-4B73-8F29-D21652CCA886}" dt="2021-06-04T06:09:01.314" v="4592" actId="1076"/>
          <ac:picMkLst>
            <pc:docMk/>
            <pc:sldMk cId="94532967" sldId="836"/>
            <ac:picMk id="33" creationId="{08A5429F-EB7D-49A8-937F-2E5A6F5D2255}"/>
          </ac:picMkLst>
        </pc:picChg>
        <pc:picChg chg="add mod">
          <ac:chgData name="Thomas Stensitzki" userId="75cafe6b-2f2a-469b-85c4-eec3b9c972ba" providerId="ADAL" clId="{5A5E689C-724C-4B73-8F29-D21652CCA886}" dt="2021-05-23T09:01:38.484" v="887"/>
          <ac:picMkLst>
            <pc:docMk/>
            <pc:sldMk cId="94532967" sldId="836"/>
            <ac:picMk id="34" creationId="{313AC232-6FB9-4579-8B0F-9D0E3DA7A09D}"/>
          </ac:picMkLst>
        </pc:picChg>
        <pc:picChg chg="add mod">
          <ac:chgData name="Thomas Stensitzki" userId="75cafe6b-2f2a-469b-85c4-eec3b9c972ba" providerId="ADAL" clId="{5A5E689C-724C-4B73-8F29-D21652CCA886}" dt="2021-05-23T09:01:38.484" v="887"/>
          <ac:picMkLst>
            <pc:docMk/>
            <pc:sldMk cId="94532967" sldId="836"/>
            <ac:picMk id="35" creationId="{9F12B427-16F1-4128-8619-2EB4C580FD36}"/>
          </ac:picMkLst>
        </pc:picChg>
        <pc:picChg chg="add mod">
          <ac:chgData name="Thomas Stensitzki" userId="75cafe6b-2f2a-469b-85c4-eec3b9c972ba" providerId="ADAL" clId="{5A5E689C-724C-4B73-8F29-D21652CCA886}" dt="2021-05-23T09:01:38.484" v="887"/>
          <ac:picMkLst>
            <pc:docMk/>
            <pc:sldMk cId="94532967" sldId="836"/>
            <ac:picMk id="36" creationId="{3A42D925-8AA7-488D-893E-9A007A0EADB2}"/>
          </ac:picMkLst>
        </pc:picChg>
        <pc:picChg chg="add del mod">
          <ac:chgData name="Thomas Stensitzki" userId="75cafe6b-2f2a-469b-85c4-eec3b9c972ba" providerId="ADAL" clId="{5A5E689C-724C-4B73-8F29-D21652CCA886}" dt="2021-06-03T06:20:00.227" v="3869" actId="478"/>
          <ac:picMkLst>
            <pc:docMk/>
            <pc:sldMk cId="94532967" sldId="836"/>
            <ac:picMk id="37" creationId="{A1221FBB-35C0-448C-8A3B-DC2C81B83906}"/>
          </ac:picMkLst>
        </pc:picChg>
        <pc:cxnChg chg="add mod">
          <ac:chgData name="Thomas Stensitzki" userId="75cafe6b-2f2a-469b-85c4-eec3b9c972ba" providerId="ADAL" clId="{5A5E689C-724C-4B73-8F29-D21652CCA886}" dt="2021-05-23T09:01:38.484" v="887"/>
          <ac:cxnSpMkLst>
            <pc:docMk/>
            <pc:sldMk cId="94532967" sldId="836"/>
            <ac:cxnSpMk id="18" creationId="{BE17F541-17CB-4735-8C47-685D17CC3B50}"/>
          </ac:cxnSpMkLst>
        </pc:cxnChg>
        <pc:cxnChg chg="add mod">
          <ac:chgData name="Thomas Stensitzki" userId="75cafe6b-2f2a-469b-85c4-eec3b9c972ba" providerId="ADAL" clId="{5A5E689C-724C-4B73-8F29-D21652CCA886}" dt="2021-06-04T06:08:56.447" v="4591" actId="1076"/>
          <ac:cxnSpMkLst>
            <pc:docMk/>
            <pc:sldMk cId="94532967" sldId="836"/>
            <ac:cxnSpMk id="19" creationId="{0892E4E9-9F37-46D5-B63A-BDD7BE17AEC7}"/>
          </ac:cxnSpMkLst>
        </pc:cxnChg>
        <pc:cxnChg chg="add mod">
          <ac:chgData name="Thomas Stensitzki" userId="75cafe6b-2f2a-469b-85c4-eec3b9c972ba" providerId="ADAL" clId="{5A5E689C-724C-4B73-8F29-D21652CCA886}" dt="2021-06-04T06:09:08.508" v="4594" actId="14100"/>
          <ac:cxnSpMkLst>
            <pc:docMk/>
            <pc:sldMk cId="94532967" sldId="836"/>
            <ac:cxnSpMk id="21" creationId="{B6D9D9D0-4AA1-4016-B3F6-F49CD2D136E2}"/>
          </ac:cxnSpMkLst>
        </pc:cxnChg>
        <pc:cxnChg chg="add mod">
          <ac:chgData name="Thomas Stensitzki" userId="75cafe6b-2f2a-469b-85c4-eec3b9c972ba" providerId="ADAL" clId="{5A5E689C-724C-4B73-8F29-D21652CCA886}" dt="2021-06-04T06:09:08.508" v="4594" actId="14100"/>
          <ac:cxnSpMkLst>
            <pc:docMk/>
            <pc:sldMk cId="94532967" sldId="836"/>
            <ac:cxnSpMk id="22" creationId="{8D7A3AC1-3964-4972-A72C-80225E753031}"/>
          </ac:cxnSpMkLst>
        </pc:cxnChg>
        <pc:cxnChg chg="add mod">
          <ac:chgData name="Thomas Stensitzki" userId="75cafe6b-2f2a-469b-85c4-eec3b9c972ba" providerId="ADAL" clId="{5A5E689C-724C-4B73-8F29-D21652CCA886}" dt="2021-05-23T09:01:38.484" v="887"/>
          <ac:cxnSpMkLst>
            <pc:docMk/>
            <pc:sldMk cId="94532967" sldId="836"/>
            <ac:cxnSpMk id="26" creationId="{424B51CF-2193-4A70-86A5-C9DB7D494C20}"/>
          </ac:cxnSpMkLst>
        </pc:cxnChg>
        <pc:cxnChg chg="add mod">
          <ac:chgData name="Thomas Stensitzki" userId="75cafe6b-2f2a-469b-85c4-eec3b9c972ba" providerId="ADAL" clId="{5A5E689C-724C-4B73-8F29-D21652CCA886}" dt="2021-05-23T09:01:38.484" v="887"/>
          <ac:cxnSpMkLst>
            <pc:docMk/>
            <pc:sldMk cId="94532967" sldId="836"/>
            <ac:cxnSpMk id="27" creationId="{A81B87FF-B7E9-4F65-B4A7-0BD1AD283C06}"/>
          </ac:cxnSpMkLst>
        </pc:cxnChg>
        <pc:cxnChg chg="add mod">
          <ac:chgData name="Thomas Stensitzki" userId="75cafe6b-2f2a-469b-85c4-eec3b9c972ba" providerId="ADAL" clId="{5A5E689C-724C-4B73-8F29-D21652CCA886}" dt="2021-05-23T09:10:01.910" v="1049" actId="208"/>
          <ac:cxnSpMkLst>
            <pc:docMk/>
            <pc:sldMk cId="94532967" sldId="836"/>
            <ac:cxnSpMk id="28" creationId="{FDBDD808-2330-4089-BD4B-70D77E43172E}"/>
          </ac:cxnSpMkLst>
        </pc:cxnChg>
        <pc:cxnChg chg="add mod">
          <ac:chgData name="Thomas Stensitzki" userId="75cafe6b-2f2a-469b-85c4-eec3b9c972ba" providerId="ADAL" clId="{5A5E689C-724C-4B73-8F29-D21652CCA886}" dt="2021-05-23T09:08:52.857" v="1043" actId="208"/>
          <ac:cxnSpMkLst>
            <pc:docMk/>
            <pc:sldMk cId="94532967" sldId="836"/>
            <ac:cxnSpMk id="38" creationId="{2659A548-4F8D-40B5-B137-52D084EDA0A6}"/>
          </ac:cxnSpMkLst>
        </pc:cxnChg>
      </pc:sldChg>
      <pc:sldChg chg="addSp delSp modSp new mod modClrScheme modAnim chgLayout">
        <pc:chgData name="Thomas Stensitzki" userId="75cafe6b-2f2a-469b-85c4-eec3b9c972ba" providerId="ADAL" clId="{5A5E689C-724C-4B73-8F29-D21652CCA886}" dt="2021-06-03T06:43:36.411" v="3979"/>
        <pc:sldMkLst>
          <pc:docMk/>
          <pc:sldMk cId="3413865289" sldId="837"/>
        </pc:sldMkLst>
        <pc:spChg chg="del mod ord">
          <ac:chgData name="Thomas Stensitzki" userId="75cafe6b-2f2a-469b-85c4-eec3b9c972ba" providerId="ADAL" clId="{5A5E689C-724C-4B73-8F29-D21652CCA886}" dt="2021-05-23T09:02:19.691" v="889" actId="700"/>
          <ac:spMkLst>
            <pc:docMk/>
            <pc:sldMk cId="3413865289" sldId="837"/>
            <ac:spMk id="2" creationId="{BEB2D1B0-7ECA-42C1-ACA3-DF06D87CAF26}"/>
          </ac:spMkLst>
        </pc:spChg>
        <pc:spChg chg="del mod ord">
          <ac:chgData name="Thomas Stensitzki" userId="75cafe6b-2f2a-469b-85c4-eec3b9c972ba" providerId="ADAL" clId="{5A5E689C-724C-4B73-8F29-D21652CCA886}" dt="2021-05-23T09:02:19.691" v="889" actId="700"/>
          <ac:spMkLst>
            <pc:docMk/>
            <pc:sldMk cId="3413865289" sldId="837"/>
            <ac:spMk id="3" creationId="{97004A03-ECB4-4682-A89E-F74CA2AC4DFB}"/>
          </ac:spMkLst>
        </pc:spChg>
        <pc:spChg chg="del mod ord">
          <ac:chgData name="Thomas Stensitzki" userId="75cafe6b-2f2a-469b-85c4-eec3b9c972ba" providerId="ADAL" clId="{5A5E689C-724C-4B73-8F29-D21652CCA886}" dt="2021-05-23T09:06:49.062" v="1028" actId="478"/>
          <ac:spMkLst>
            <pc:docMk/>
            <pc:sldMk cId="3413865289" sldId="837"/>
            <ac:spMk id="4" creationId="{527132DF-1625-4BBE-9542-1EDCCD15DC0A}"/>
          </ac:spMkLst>
        </pc:spChg>
        <pc:spChg chg="del">
          <ac:chgData name="Thomas Stensitzki" userId="75cafe6b-2f2a-469b-85c4-eec3b9c972ba" providerId="ADAL" clId="{5A5E689C-724C-4B73-8F29-D21652CCA886}" dt="2021-05-23T09:02:19.691" v="889" actId="700"/>
          <ac:spMkLst>
            <pc:docMk/>
            <pc:sldMk cId="3413865289" sldId="837"/>
            <ac:spMk id="5" creationId="{32A16672-03E9-4943-8415-9D6F0FCAC036}"/>
          </ac:spMkLst>
        </pc:spChg>
        <pc:spChg chg="add mod ord">
          <ac:chgData name="Thomas Stensitzki" userId="75cafe6b-2f2a-469b-85c4-eec3b9c972ba" providerId="ADAL" clId="{5A5E689C-724C-4B73-8F29-D21652CCA886}" dt="2021-05-23T09:03:19.899" v="956" actId="700"/>
          <ac:spMkLst>
            <pc:docMk/>
            <pc:sldMk cId="3413865289" sldId="837"/>
            <ac:spMk id="6" creationId="{93F43550-18A8-47B0-B51E-2190B73DA48C}"/>
          </ac:spMkLst>
        </pc:spChg>
        <pc:spChg chg="add mod ord">
          <ac:chgData name="Thomas Stensitzki" userId="75cafe6b-2f2a-469b-85c4-eec3b9c972ba" providerId="ADAL" clId="{5A5E689C-724C-4B73-8F29-D21652CCA886}" dt="2021-05-23T09:03:19.899" v="956" actId="700"/>
          <ac:spMkLst>
            <pc:docMk/>
            <pc:sldMk cId="3413865289" sldId="837"/>
            <ac:spMk id="7" creationId="{3C88574D-CA84-4E42-8813-9B789252AD50}"/>
          </ac:spMkLst>
        </pc:spChg>
        <pc:spChg chg="add mod ord">
          <ac:chgData name="Thomas Stensitzki" userId="75cafe6b-2f2a-469b-85c4-eec3b9c972ba" providerId="ADAL" clId="{5A5E689C-724C-4B73-8F29-D21652CCA886}" dt="2021-05-23T09:12:08.981" v="1178" actId="20577"/>
          <ac:spMkLst>
            <pc:docMk/>
            <pc:sldMk cId="3413865289" sldId="837"/>
            <ac:spMk id="8" creationId="{6DC18DE1-97A4-449E-9CDE-DCF366D12E06}"/>
          </ac:spMkLst>
        </pc:spChg>
        <pc:spChg chg="add del mod ord">
          <ac:chgData name="Thomas Stensitzki" userId="75cafe6b-2f2a-469b-85c4-eec3b9c972ba" providerId="ADAL" clId="{5A5E689C-724C-4B73-8F29-D21652CCA886}" dt="2021-05-23T09:03:24.771" v="957" actId="478"/>
          <ac:spMkLst>
            <pc:docMk/>
            <pc:sldMk cId="3413865289" sldId="837"/>
            <ac:spMk id="9" creationId="{E99E33B7-FF6B-4A0F-9D46-D9EFC23367FA}"/>
          </ac:spMkLst>
        </pc:spChg>
        <pc:spChg chg="add mod">
          <ac:chgData name="Thomas Stensitzki" userId="75cafe6b-2f2a-469b-85c4-eec3b9c972ba" providerId="ADAL" clId="{5A5E689C-724C-4B73-8F29-D21652CCA886}" dt="2021-05-23T09:04:56.369" v="1017" actId="14100"/>
          <ac:spMkLst>
            <pc:docMk/>
            <pc:sldMk cId="3413865289" sldId="837"/>
            <ac:spMk id="11" creationId="{428134C3-F30E-4F38-9C47-1F0BA96CE88F}"/>
          </ac:spMkLst>
        </pc:spChg>
        <pc:spChg chg="add mod">
          <ac:chgData name="Thomas Stensitzki" userId="75cafe6b-2f2a-469b-85c4-eec3b9c972ba" providerId="ADAL" clId="{5A5E689C-724C-4B73-8F29-D21652CCA886}" dt="2021-05-23T09:05:12.660" v="1022" actId="14100"/>
          <ac:spMkLst>
            <pc:docMk/>
            <pc:sldMk cId="3413865289" sldId="837"/>
            <ac:spMk id="12" creationId="{5B0116A8-E527-4AB9-B143-19FB34B22E1D}"/>
          </ac:spMkLst>
        </pc:spChg>
        <pc:picChg chg="add del mod">
          <ac:chgData name="Thomas Stensitzki" userId="75cafe6b-2f2a-469b-85c4-eec3b9c972ba" providerId="ADAL" clId="{5A5E689C-724C-4B73-8F29-D21652CCA886}" dt="2021-06-03T06:20:02.518" v="3870" actId="478"/>
          <ac:picMkLst>
            <pc:docMk/>
            <pc:sldMk cId="3413865289" sldId="837"/>
            <ac:picMk id="9" creationId="{DA173FB1-A37A-4A11-A6CD-7363C202016A}"/>
          </ac:picMkLst>
        </pc:picChg>
        <pc:picChg chg="add mod">
          <ac:chgData name="Thomas Stensitzki" userId="75cafe6b-2f2a-469b-85c4-eec3b9c972ba" providerId="ADAL" clId="{5A5E689C-724C-4B73-8F29-D21652CCA886}" dt="2021-05-23T09:04:17.790" v="1010" actId="1076"/>
          <ac:picMkLst>
            <pc:docMk/>
            <pc:sldMk cId="3413865289" sldId="837"/>
            <ac:picMk id="10" creationId="{C92366DF-5CA1-46B6-83F9-FD6282CBFE85}"/>
          </ac:picMkLst>
        </pc:picChg>
      </pc:sldChg>
      <pc:sldChg chg="delSp modSp new mod modAnim">
        <pc:chgData name="Thomas Stensitzki" userId="75cafe6b-2f2a-469b-85c4-eec3b9c972ba" providerId="ADAL" clId="{5A5E689C-724C-4B73-8F29-D21652CCA886}" dt="2021-06-04T06:13:33.330" v="4622" actId="14100"/>
        <pc:sldMkLst>
          <pc:docMk/>
          <pc:sldMk cId="393929517" sldId="838"/>
        </pc:sldMkLst>
        <pc:spChg chg="mod">
          <ac:chgData name="Thomas Stensitzki" userId="75cafe6b-2f2a-469b-85c4-eec3b9c972ba" providerId="ADAL" clId="{5A5E689C-724C-4B73-8F29-D21652CCA886}" dt="2021-05-23T09:34:19.122" v="1716"/>
          <ac:spMkLst>
            <pc:docMk/>
            <pc:sldMk cId="393929517" sldId="838"/>
            <ac:spMk id="2" creationId="{D662EBF0-9017-4F02-A5BF-883C7D2B098A}"/>
          </ac:spMkLst>
        </pc:spChg>
        <pc:spChg chg="mod">
          <ac:chgData name="Thomas Stensitzki" userId="75cafe6b-2f2a-469b-85c4-eec3b9c972ba" providerId="ADAL" clId="{5A5E689C-724C-4B73-8F29-D21652CCA886}" dt="2021-05-23T09:34:26.128" v="1732" actId="20577"/>
          <ac:spMkLst>
            <pc:docMk/>
            <pc:sldMk cId="393929517" sldId="838"/>
            <ac:spMk id="3" creationId="{DCC149E3-33D1-40A3-BA0E-AAF143934FBC}"/>
          </ac:spMkLst>
        </pc:spChg>
        <pc:spChg chg="del">
          <ac:chgData name="Thomas Stensitzki" userId="75cafe6b-2f2a-469b-85c4-eec3b9c972ba" providerId="ADAL" clId="{5A5E689C-724C-4B73-8F29-D21652CCA886}" dt="2021-05-23T09:41:18.394" v="2434" actId="478"/>
          <ac:spMkLst>
            <pc:docMk/>
            <pc:sldMk cId="393929517" sldId="838"/>
            <ac:spMk id="4" creationId="{A61C2C89-BA30-4184-A9C7-316FC9ECCB80}"/>
          </ac:spMkLst>
        </pc:spChg>
        <pc:spChg chg="mod">
          <ac:chgData name="Thomas Stensitzki" userId="75cafe6b-2f2a-469b-85c4-eec3b9c972ba" providerId="ADAL" clId="{5A5E689C-724C-4B73-8F29-D21652CCA886}" dt="2021-06-04T06:13:33.330" v="4622" actId="14100"/>
          <ac:spMkLst>
            <pc:docMk/>
            <pc:sldMk cId="393929517" sldId="838"/>
            <ac:spMk id="5" creationId="{FF50178B-4696-461E-BF02-0ABEC5D0F6E5}"/>
          </ac:spMkLst>
        </pc:spChg>
      </pc:sldChg>
      <pc:sldChg chg="addSp delSp modSp new mod modAnim">
        <pc:chgData name="Thomas Stensitzki" userId="75cafe6b-2f2a-469b-85c4-eec3b9c972ba" providerId="ADAL" clId="{5A5E689C-724C-4B73-8F29-D21652CCA886}" dt="2021-06-04T06:11:57.824" v="4621" actId="20577"/>
        <pc:sldMkLst>
          <pc:docMk/>
          <pc:sldMk cId="2111568649" sldId="839"/>
        </pc:sldMkLst>
        <pc:spChg chg="mod">
          <ac:chgData name="Thomas Stensitzki" userId="75cafe6b-2f2a-469b-85c4-eec3b9c972ba" providerId="ADAL" clId="{5A5E689C-724C-4B73-8F29-D21652CCA886}" dt="2021-05-23T09:49:24.382" v="3161"/>
          <ac:spMkLst>
            <pc:docMk/>
            <pc:sldMk cId="2111568649" sldId="839"/>
            <ac:spMk id="2" creationId="{0BDF6057-8048-461D-90CE-6BAE8B7799FA}"/>
          </ac:spMkLst>
        </pc:spChg>
        <pc:spChg chg="mod">
          <ac:chgData name="Thomas Stensitzki" userId="75cafe6b-2f2a-469b-85c4-eec3b9c972ba" providerId="ADAL" clId="{5A5E689C-724C-4B73-8F29-D21652CCA886}" dt="2021-05-23T09:49:31.955" v="3186" actId="20577"/>
          <ac:spMkLst>
            <pc:docMk/>
            <pc:sldMk cId="2111568649" sldId="839"/>
            <ac:spMk id="3" creationId="{0D161320-335C-4C02-BE8C-2BC4E134CE05}"/>
          </ac:spMkLst>
        </pc:spChg>
        <pc:spChg chg="del">
          <ac:chgData name="Thomas Stensitzki" userId="75cafe6b-2f2a-469b-85c4-eec3b9c972ba" providerId="ADAL" clId="{5A5E689C-724C-4B73-8F29-D21652CCA886}" dt="2021-05-23T09:49:15.663" v="3160" actId="478"/>
          <ac:spMkLst>
            <pc:docMk/>
            <pc:sldMk cId="2111568649" sldId="839"/>
            <ac:spMk id="4" creationId="{75E14154-9274-4311-A8C3-F0AB47302E59}"/>
          </ac:spMkLst>
        </pc:spChg>
        <pc:spChg chg="mod">
          <ac:chgData name="Thomas Stensitzki" userId="75cafe6b-2f2a-469b-85c4-eec3b9c972ba" providerId="ADAL" clId="{5A5E689C-724C-4B73-8F29-D21652CCA886}" dt="2021-06-04T06:11:57.824" v="4621" actId="20577"/>
          <ac:spMkLst>
            <pc:docMk/>
            <pc:sldMk cId="2111568649" sldId="839"/>
            <ac:spMk id="5" creationId="{9B72772B-6BD9-45B4-B5D7-08E77DC08645}"/>
          </ac:spMkLst>
        </pc:spChg>
        <pc:picChg chg="add mod">
          <ac:chgData name="Thomas Stensitzki" userId="75cafe6b-2f2a-469b-85c4-eec3b9c972ba" providerId="ADAL" clId="{5A5E689C-724C-4B73-8F29-D21652CCA886}" dt="2021-05-23T09:55:36.294" v="3733" actId="1036"/>
          <ac:picMkLst>
            <pc:docMk/>
            <pc:sldMk cId="2111568649" sldId="839"/>
            <ac:picMk id="6" creationId="{30FD5BA7-E817-4FA3-BC2B-7EAC7958B218}"/>
          </ac:picMkLst>
        </pc:picChg>
        <pc:picChg chg="add mod">
          <ac:chgData name="Thomas Stensitzki" userId="75cafe6b-2f2a-469b-85c4-eec3b9c972ba" providerId="ADAL" clId="{5A5E689C-724C-4B73-8F29-D21652CCA886}" dt="2021-05-23T09:55:56.739" v="3744" actId="1076"/>
          <ac:picMkLst>
            <pc:docMk/>
            <pc:sldMk cId="2111568649" sldId="839"/>
            <ac:picMk id="7" creationId="{7956CC07-5061-4B91-8D76-FFF6CE9D5313}"/>
          </ac:picMkLst>
        </pc:picChg>
        <pc:picChg chg="add del mod">
          <ac:chgData name="Thomas Stensitzki" userId="75cafe6b-2f2a-469b-85c4-eec3b9c972ba" providerId="ADAL" clId="{5A5E689C-724C-4B73-8F29-D21652CCA886}" dt="2021-06-03T06:19:55.458" v="3867" actId="478"/>
          <ac:picMkLst>
            <pc:docMk/>
            <pc:sldMk cId="2111568649" sldId="839"/>
            <ac:picMk id="8" creationId="{9CD9720E-226D-4E42-BE02-1300BC65FF25}"/>
          </ac:picMkLst>
        </pc:picChg>
      </pc:sldChg>
      <pc:sldChg chg="modSp add mod modAnim">
        <pc:chgData name="Thomas Stensitzki" userId="75cafe6b-2f2a-469b-85c4-eec3b9c972ba" providerId="ADAL" clId="{5A5E689C-724C-4B73-8F29-D21652CCA886}" dt="2021-06-03T06:44:55.816" v="3983"/>
        <pc:sldMkLst>
          <pc:docMk/>
          <pc:sldMk cId="1776523139" sldId="840"/>
        </pc:sldMkLst>
        <pc:spChg chg="mod">
          <ac:chgData name="Thomas Stensitzki" userId="75cafe6b-2f2a-469b-85c4-eec3b9c972ba" providerId="ADAL" clId="{5A5E689C-724C-4B73-8F29-D21652CCA886}" dt="2021-05-23T09:47:35.389" v="3120" actId="20577"/>
          <ac:spMkLst>
            <pc:docMk/>
            <pc:sldMk cId="1776523139" sldId="840"/>
            <ac:spMk id="5" creationId="{FF50178B-4696-461E-BF02-0ABEC5D0F6E5}"/>
          </ac:spMkLst>
        </pc:spChg>
      </pc:sldChg>
      <pc:sldChg chg="addSp delSp modSp add mod delAnim modAnim">
        <pc:chgData name="Thomas Stensitzki" userId="75cafe6b-2f2a-469b-85c4-eec3b9c972ba" providerId="ADAL" clId="{5A5E689C-724C-4B73-8F29-D21652CCA886}" dt="2021-06-04T06:14:21.081" v="4623"/>
        <pc:sldMkLst>
          <pc:docMk/>
          <pc:sldMk cId="3385723586" sldId="841"/>
        </pc:sldMkLst>
        <pc:spChg chg="mod">
          <ac:chgData name="Thomas Stensitzki" userId="75cafe6b-2f2a-469b-85c4-eec3b9c972ba" providerId="ADAL" clId="{5A5E689C-724C-4B73-8F29-D21652CCA886}" dt="2021-05-23T09:48:48.876" v="3157" actId="6549"/>
          <ac:spMkLst>
            <pc:docMk/>
            <pc:sldMk cId="3385723586" sldId="841"/>
            <ac:spMk id="3" creationId="{DCC149E3-33D1-40A3-BA0E-AAF143934FBC}"/>
          </ac:spMkLst>
        </pc:spChg>
        <pc:spChg chg="del">
          <ac:chgData name="Thomas Stensitzki" userId="75cafe6b-2f2a-469b-85c4-eec3b9c972ba" providerId="ADAL" clId="{5A5E689C-724C-4B73-8F29-D21652CCA886}" dt="2021-05-23T09:48:52.058" v="3158" actId="478"/>
          <ac:spMkLst>
            <pc:docMk/>
            <pc:sldMk cId="3385723586" sldId="841"/>
            <ac:spMk id="5" creationId="{FF50178B-4696-461E-BF02-0ABEC5D0F6E5}"/>
          </ac:spMkLst>
        </pc:spChg>
        <pc:spChg chg="add del mod">
          <ac:chgData name="Thomas Stensitzki" userId="75cafe6b-2f2a-469b-85c4-eec3b9c972ba" providerId="ADAL" clId="{5A5E689C-724C-4B73-8F29-D21652CCA886}" dt="2021-05-23T09:48:54.847" v="3159" actId="478"/>
          <ac:spMkLst>
            <pc:docMk/>
            <pc:sldMk cId="3385723586" sldId="841"/>
            <ac:spMk id="6" creationId="{671A8E69-381D-4401-A192-10BBC7144272}"/>
          </ac:spMkLst>
        </pc:spChg>
        <pc:spChg chg="add mod">
          <ac:chgData name="Thomas Stensitzki" userId="75cafe6b-2f2a-469b-85c4-eec3b9c972ba" providerId="ADAL" clId="{5A5E689C-724C-4B73-8F29-D21652CCA886}" dt="2021-05-23T09:57:55.557" v="3802" actId="1037"/>
          <ac:spMkLst>
            <pc:docMk/>
            <pc:sldMk cId="3385723586" sldId="841"/>
            <ac:spMk id="7" creationId="{DD1D88B3-2C92-4691-98F1-DA81EA36E700}"/>
          </ac:spMkLst>
        </pc:spChg>
        <pc:spChg chg="add mod">
          <ac:chgData name="Thomas Stensitzki" userId="75cafe6b-2f2a-469b-85c4-eec3b9c972ba" providerId="ADAL" clId="{5A5E689C-724C-4B73-8F29-D21652CCA886}" dt="2021-05-23T09:57:55.557" v="3802" actId="1037"/>
          <ac:spMkLst>
            <pc:docMk/>
            <pc:sldMk cId="3385723586" sldId="841"/>
            <ac:spMk id="8" creationId="{F8ACB9E6-1D8F-4CC6-94FF-5E83B3C563B3}"/>
          </ac:spMkLst>
        </pc:spChg>
        <pc:spChg chg="add mod">
          <ac:chgData name="Thomas Stensitzki" userId="75cafe6b-2f2a-469b-85c4-eec3b9c972ba" providerId="ADAL" clId="{5A5E689C-724C-4B73-8F29-D21652CCA886}" dt="2021-06-03T18:32:22.243" v="4233" actId="1076"/>
          <ac:spMkLst>
            <pc:docMk/>
            <pc:sldMk cId="3385723586" sldId="841"/>
            <ac:spMk id="12" creationId="{873629AC-B23A-49C2-8B37-7F485C12C73E}"/>
          </ac:spMkLst>
        </pc:spChg>
        <pc:spChg chg="add mod">
          <ac:chgData name="Thomas Stensitzki" userId="75cafe6b-2f2a-469b-85c4-eec3b9c972ba" providerId="ADAL" clId="{5A5E689C-724C-4B73-8F29-D21652CCA886}" dt="2021-06-03T06:26:29.517" v="3913" actId="1036"/>
          <ac:spMkLst>
            <pc:docMk/>
            <pc:sldMk cId="3385723586" sldId="841"/>
            <ac:spMk id="14" creationId="{70214545-D347-4B01-86AF-2D15051A0515}"/>
          </ac:spMkLst>
        </pc:spChg>
        <pc:spChg chg="add mod">
          <ac:chgData name="Thomas Stensitzki" userId="75cafe6b-2f2a-469b-85c4-eec3b9c972ba" providerId="ADAL" clId="{5A5E689C-724C-4B73-8F29-D21652CCA886}" dt="2021-06-03T06:26:29.517" v="3913" actId="1036"/>
          <ac:spMkLst>
            <pc:docMk/>
            <pc:sldMk cId="3385723586" sldId="841"/>
            <ac:spMk id="15" creationId="{814CE698-070F-4C7A-AA86-EE331E6A40C0}"/>
          </ac:spMkLst>
        </pc:spChg>
        <pc:spChg chg="add mod ord">
          <ac:chgData name="Thomas Stensitzki" userId="75cafe6b-2f2a-469b-85c4-eec3b9c972ba" providerId="ADAL" clId="{5A5E689C-724C-4B73-8F29-D21652CCA886}" dt="2021-06-03T06:26:42.878" v="3915" actId="166"/>
          <ac:spMkLst>
            <pc:docMk/>
            <pc:sldMk cId="3385723586" sldId="841"/>
            <ac:spMk id="16" creationId="{9F7DC946-8D94-4391-9B50-FC28AEAF0D18}"/>
          </ac:spMkLst>
        </pc:spChg>
        <pc:spChg chg="add mod">
          <ac:chgData name="Thomas Stensitzki" userId="75cafe6b-2f2a-469b-85c4-eec3b9c972ba" providerId="ADAL" clId="{5A5E689C-724C-4B73-8F29-D21652CCA886}" dt="2021-06-03T06:26:29.517" v="3913" actId="1036"/>
          <ac:spMkLst>
            <pc:docMk/>
            <pc:sldMk cId="3385723586" sldId="841"/>
            <ac:spMk id="17" creationId="{042F1899-75D2-4352-A4D2-CF61ADF8C36A}"/>
          </ac:spMkLst>
        </pc:spChg>
        <pc:spChg chg="add mod">
          <ac:chgData name="Thomas Stensitzki" userId="75cafe6b-2f2a-469b-85c4-eec3b9c972ba" providerId="ADAL" clId="{5A5E689C-724C-4B73-8F29-D21652CCA886}" dt="2021-06-03T06:26:29.517" v="3913" actId="1036"/>
          <ac:spMkLst>
            <pc:docMk/>
            <pc:sldMk cId="3385723586" sldId="841"/>
            <ac:spMk id="18" creationId="{48F355F1-0F74-47DB-8FA9-8CB9C7EC7E68}"/>
          </ac:spMkLst>
        </pc:spChg>
        <pc:spChg chg="add mod">
          <ac:chgData name="Thomas Stensitzki" userId="75cafe6b-2f2a-469b-85c4-eec3b9c972ba" providerId="ADAL" clId="{5A5E689C-724C-4B73-8F29-D21652CCA886}" dt="2021-06-03T06:26:29.517" v="3913" actId="1036"/>
          <ac:spMkLst>
            <pc:docMk/>
            <pc:sldMk cId="3385723586" sldId="841"/>
            <ac:spMk id="19" creationId="{6BE75D4B-782D-4E7B-B66C-6847AD5D1D90}"/>
          </ac:spMkLst>
        </pc:spChg>
        <pc:spChg chg="add mod">
          <ac:chgData name="Thomas Stensitzki" userId="75cafe6b-2f2a-469b-85c4-eec3b9c972ba" providerId="ADAL" clId="{5A5E689C-724C-4B73-8F29-D21652CCA886}" dt="2021-06-03T06:26:29.517" v="3913" actId="1036"/>
          <ac:spMkLst>
            <pc:docMk/>
            <pc:sldMk cId="3385723586" sldId="841"/>
            <ac:spMk id="25" creationId="{242DE912-91BE-4AA0-A1D4-CCB9EAC1ABDC}"/>
          </ac:spMkLst>
        </pc:spChg>
        <pc:spChg chg="add mod">
          <ac:chgData name="Thomas Stensitzki" userId="75cafe6b-2f2a-469b-85c4-eec3b9c972ba" providerId="ADAL" clId="{5A5E689C-724C-4B73-8F29-D21652CCA886}" dt="2021-06-03T06:26:29.517" v="3913" actId="1036"/>
          <ac:spMkLst>
            <pc:docMk/>
            <pc:sldMk cId="3385723586" sldId="841"/>
            <ac:spMk id="26" creationId="{4EC2B299-F8FE-418C-A449-929534F0D305}"/>
          </ac:spMkLst>
        </pc:spChg>
        <pc:spChg chg="add mod">
          <ac:chgData name="Thomas Stensitzki" userId="75cafe6b-2f2a-469b-85c4-eec3b9c972ba" providerId="ADAL" clId="{5A5E689C-724C-4B73-8F29-D21652CCA886}" dt="2021-06-03T06:26:29.517" v="3913" actId="1036"/>
          <ac:spMkLst>
            <pc:docMk/>
            <pc:sldMk cId="3385723586" sldId="841"/>
            <ac:spMk id="27" creationId="{85B7B34F-96D5-4EE1-B8EE-2A8F377E8A89}"/>
          </ac:spMkLst>
        </pc:spChg>
        <pc:spChg chg="add mod">
          <ac:chgData name="Thomas Stensitzki" userId="75cafe6b-2f2a-469b-85c4-eec3b9c972ba" providerId="ADAL" clId="{5A5E689C-724C-4B73-8F29-D21652CCA886}" dt="2021-06-03T18:36:12.871" v="4393" actId="1076"/>
          <ac:spMkLst>
            <pc:docMk/>
            <pc:sldMk cId="3385723586" sldId="841"/>
            <ac:spMk id="38" creationId="{419BEE3D-B179-4216-BBED-38840B173D36}"/>
          </ac:spMkLst>
        </pc:spChg>
        <pc:spChg chg="add mod">
          <ac:chgData name="Thomas Stensitzki" userId="75cafe6b-2f2a-469b-85c4-eec3b9c972ba" providerId="ADAL" clId="{5A5E689C-724C-4B73-8F29-D21652CCA886}" dt="2021-06-03T18:34:54.836" v="4384" actId="14100"/>
          <ac:spMkLst>
            <pc:docMk/>
            <pc:sldMk cId="3385723586" sldId="841"/>
            <ac:spMk id="39" creationId="{4A9C577E-85FB-4958-82D3-543363813FC7}"/>
          </ac:spMkLst>
        </pc:spChg>
        <pc:spChg chg="add mod">
          <ac:chgData name="Thomas Stensitzki" userId="75cafe6b-2f2a-469b-85c4-eec3b9c972ba" providerId="ADAL" clId="{5A5E689C-724C-4B73-8F29-D21652CCA886}" dt="2021-06-03T18:33:07.030" v="4264" actId="14100"/>
          <ac:spMkLst>
            <pc:docMk/>
            <pc:sldMk cId="3385723586" sldId="841"/>
            <ac:spMk id="40" creationId="{C87A3988-E698-4B46-A47A-8B704A2A32A9}"/>
          </ac:spMkLst>
        </pc:spChg>
        <pc:spChg chg="add mod">
          <ac:chgData name="Thomas Stensitzki" userId="75cafe6b-2f2a-469b-85c4-eec3b9c972ba" providerId="ADAL" clId="{5A5E689C-724C-4B73-8F29-D21652CCA886}" dt="2021-06-03T18:35:48.830" v="4390" actId="1076"/>
          <ac:spMkLst>
            <pc:docMk/>
            <pc:sldMk cId="3385723586" sldId="841"/>
            <ac:spMk id="41" creationId="{A066B479-52B2-431A-B765-28F5E26B7872}"/>
          </ac:spMkLst>
        </pc:spChg>
        <pc:spChg chg="add mod">
          <ac:chgData name="Thomas Stensitzki" userId="75cafe6b-2f2a-469b-85c4-eec3b9c972ba" providerId="ADAL" clId="{5A5E689C-724C-4B73-8F29-D21652CCA886}" dt="2021-06-03T06:26:29.517" v="3913" actId="1036"/>
          <ac:spMkLst>
            <pc:docMk/>
            <pc:sldMk cId="3385723586" sldId="841"/>
            <ac:spMk id="42" creationId="{5D0A626F-72D5-411C-B198-3A2559212F92}"/>
          </ac:spMkLst>
        </pc:spChg>
        <pc:spChg chg="add del mod">
          <ac:chgData name="Thomas Stensitzki" userId="75cafe6b-2f2a-469b-85c4-eec3b9c972ba" providerId="ADAL" clId="{5A5E689C-724C-4B73-8F29-D21652CCA886}" dt="2021-06-03T06:26:07.699" v="3884" actId="478"/>
          <ac:spMkLst>
            <pc:docMk/>
            <pc:sldMk cId="3385723586" sldId="841"/>
            <ac:spMk id="43" creationId="{95DC0FC3-5D31-4C8A-BF27-77E844FA675D}"/>
          </ac:spMkLst>
        </pc:spChg>
        <pc:spChg chg="add mod">
          <ac:chgData name="Thomas Stensitzki" userId="75cafe6b-2f2a-469b-85c4-eec3b9c972ba" providerId="ADAL" clId="{5A5E689C-724C-4B73-8F29-D21652CCA886}" dt="2021-06-03T18:35:54.611" v="4391" actId="1076"/>
          <ac:spMkLst>
            <pc:docMk/>
            <pc:sldMk cId="3385723586" sldId="841"/>
            <ac:spMk id="43" creationId="{A9063EBD-09A6-4116-A8C0-F88D74D2077B}"/>
          </ac:spMkLst>
        </pc:spChg>
        <pc:spChg chg="add del mod">
          <ac:chgData name="Thomas Stensitzki" userId="75cafe6b-2f2a-469b-85c4-eec3b9c972ba" providerId="ADAL" clId="{5A5E689C-724C-4B73-8F29-D21652CCA886}" dt="2021-06-03T06:26:01.782" v="3883" actId="478"/>
          <ac:spMkLst>
            <pc:docMk/>
            <pc:sldMk cId="3385723586" sldId="841"/>
            <ac:spMk id="44" creationId="{73098EFB-244F-4E88-A645-C7538E7EC8D9}"/>
          </ac:spMkLst>
        </pc:spChg>
        <pc:spChg chg="add mod">
          <ac:chgData name="Thomas Stensitzki" userId="75cafe6b-2f2a-469b-85c4-eec3b9c972ba" providerId="ADAL" clId="{5A5E689C-724C-4B73-8F29-D21652CCA886}" dt="2021-06-03T18:37:20.553" v="4402" actId="5793"/>
          <ac:spMkLst>
            <pc:docMk/>
            <pc:sldMk cId="3385723586" sldId="841"/>
            <ac:spMk id="44" creationId="{9F208FFA-487D-410A-9B3D-8E4A50C89612}"/>
          </ac:spMkLst>
        </pc:spChg>
        <pc:spChg chg="add del mod">
          <ac:chgData name="Thomas Stensitzki" userId="75cafe6b-2f2a-469b-85c4-eec3b9c972ba" providerId="ADAL" clId="{5A5E689C-724C-4B73-8F29-D21652CCA886}" dt="2021-06-03T06:26:07.699" v="3884" actId="478"/>
          <ac:spMkLst>
            <pc:docMk/>
            <pc:sldMk cId="3385723586" sldId="841"/>
            <ac:spMk id="45" creationId="{D5E5B90F-EF7D-432A-B925-A2A8CBFABCB2}"/>
          </ac:spMkLst>
        </pc:spChg>
        <pc:spChg chg="add del mod">
          <ac:chgData name="Thomas Stensitzki" userId="75cafe6b-2f2a-469b-85c4-eec3b9c972ba" providerId="ADAL" clId="{5A5E689C-724C-4B73-8F29-D21652CCA886}" dt="2021-06-03T06:26:07.699" v="3884" actId="478"/>
          <ac:spMkLst>
            <pc:docMk/>
            <pc:sldMk cId="3385723586" sldId="841"/>
            <ac:spMk id="46" creationId="{7C5DE06F-DE63-4BFA-A4DA-170A8AF6A604}"/>
          </ac:spMkLst>
        </pc:spChg>
        <pc:spChg chg="add del mod">
          <ac:chgData name="Thomas Stensitzki" userId="75cafe6b-2f2a-469b-85c4-eec3b9c972ba" providerId="ADAL" clId="{5A5E689C-724C-4B73-8F29-D21652CCA886}" dt="2021-06-03T06:26:07.699" v="3884" actId="478"/>
          <ac:spMkLst>
            <pc:docMk/>
            <pc:sldMk cId="3385723586" sldId="841"/>
            <ac:spMk id="47" creationId="{D2C2E6EA-0CE9-47BC-A2FF-2723FFC1FB22}"/>
          </ac:spMkLst>
        </pc:spChg>
        <pc:spChg chg="add del mod">
          <ac:chgData name="Thomas Stensitzki" userId="75cafe6b-2f2a-469b-85c4-eec3b9c972ba" providerId="ADAL" clId="{5A5E689C-724C-4B73-8F29-D21652CCA886}" dt="2021-06-03T06:26:07.699" v="3884" actId="478"/>
          <ac:spMkLst>
            <pc:docMk/>
            <pc:sldMk cId="3385723586" sldId="841"/>
            <ac:spMk id="48" creationId="{64EB3DE8-D477-4DB3-BB09-045853D93E02}"/>
          </ac:spMkLst>
        </pc:spChg>
        <pc:spChg chg="add del mod">
          <ac:chgData name="Thomas Stensitzki" userId="75cafe6b-2f2a-469b-85c4-eec3b9c972ba" providerId="ADAL" clId="{5A5E689C-724C-4B73-8F29-D21652CCA886}" dt="2021-06-03T06:26:07.699" v="3884" actId="478"/>
          <ac:spMkLst>
            <pc:docMk/>
            <pc:sldMk cId="3385723586" sldId="841"/>
            <ac:spMk id="49" creationId="{E2B259FC-28C2-4DC4-B42A-3E21310B4461}"/>
          </ac:spMkLst>
        </pc:spChg>
        <pc:spChg chg="add del mod">
          <ac:chgData name="Thomas Stensitzki" userId="75cafe6b-2f2a-469b-85c4-eec3b9c972ba" providerId="ADAL" clId="{5A5E689C-724C-4B73-8F29-D21652CCA886}" dt="2021-06-03T06:26:07.699" v="3884" actId="478"/>
          <ac:spMkLst>
            <pc:docMk/>
            <pc:sldMk cId="3385723586" sldId="841"/>
            <ac:spMk id="50" creationId="{D6ADA042-9911-4683-9E3E-FA7967B1B232}"/>
          </ac:spMkLst>
        </pc:spChg>
        <pc:spChg chg="add del mod">
          <ac:chgData name="Thomas Stensitzki" userId="75cafe6b-2f2a-469b-85c4-eec3b9c972ba" providerId="ADAL" clId="{5A5E689C-724C-4B73-8F29-D21652CCA886}" dt="2021-06-03T06:26:07.699" v="3884" actId="478"/>
          <ac:spMkLst>
            <pc:docMk/>
            <pc:sldMk cId="3385723586" sldId="841"/>
            <ac:spMk id="51" creationId="{198F621C-F41B-45A3-BC53-DAB8908E9B22}"/>
          </ac:spMkLst>
        </pc:spChg>
        <pc:spChg chg="add del mod">
          <ac:chgData name="Thomas Stensitzki" userId="75cafe6b-2f2a-469b-85c4-eec3b9c972ba" providerId="ADAL" clId="{5A5E689C-724C-4B73-8F29-D21652CCA886}" dt="2021-06-03T06:26:07.699" v="3884" actId="478"/>
          <ac:spMkLst>
            <pc:docMk/>
            <pc:sldMk cId="3385723586" sldId="841"/>
            <ac:spMk id="52" creationId="{2C562EB5-B6B3-438C-ADC1-52223753FD7E}"/>
          </ac:spMkLst>
        </pc:spChg>
        <pc:spChg chg="add mod">
          <ac:chgData name="Thomas Stensitzki" userId="75cafe6b-2f2a-469b-85c4-eec3b9c972ba" providerId="ADAL" clId="{5A5E689C-724C-4B73-8F29-D21652CCA886}" dt="2021-05-23T09:57:55.557" v="3802" actId="1037"/>
          <ac:spMkLst>
            <pc:docMk/>
            <pc:sldMk cId="3385723586" sldId="841"/>
            <ac:spMk id="55" creationId="{07577184-C327-46A0-A97C-616A6BD24E16}"/>
          </ac:spMkLst>
        </pc:spChg>
        <pc:spChg chg="add mod">
          <ac:chgData name="Thomas Stensitzki" userId="75cafe6b-2f2a-469b-85c4-eec3b9c972ba" providerId="ADAL" clId="{5A5E689C-724C-4B73-8F29-D21652CCA886}" dt="2021-06-03T06:26:29.517" v="3913" actId="1036"/>
          <ac:spMkLst>
            <pc:docMk/>
            <pc:sldMk cId="3385723586" sldId="841"/>
            <ac:spMk id="56" creationId="{DC615A15-0BF9-46AE-A95E-34D2079325B9}"/>
          </ac:spMkLst>
        </pc:spChg>
        <pc:spChg chg="add mod">
          <ac:chgData name="Thomas Stensitzki" userId="75cafe6b-2f2a-469b-85c4-eec3b9c972ba" providerId="ADAL" clId="{5A5E689C-724C-4B73-8F29-D21652CCA886}" dt="2021-05-23T09:57:55.557" v="3802" actId="1037"/>
          <ac:spMkLst>
            <pc:docMk/>
            <pc:sldMk cId="3385723586" sldId="841"/>
            <ac:spMk id="62" creationId="{BBD9A17A-932D-4676-AC8F-AC8FB64A571F}"/>
          </ac:spMkLst>
        </pc:spChg>
        <pc:spChg chg="add mod">
          <ac:chgData name="Thomas Stensitzki" userId="75cafe6b-2f2a-469b-85c4-eec3b9c972ba" providerId="ADAL" clId="{5A5E689C-724C-4B73-8F29-D21652CCA886}" dt="2021-05-23T09:57:55.557" v="3802" actId="1037"/>
          <ac:spMkLst>
            <pc:docMk/>
            <pc:sldMk cId="3385723586" sldId="841"/>
            <ac:spMk id="63" creationId="{74EF4C08-605F-44C6-BBA4-99E67B29B78B}"/>
          </ac:spMkLst>
        </pc:spChg>
        <pc:spChg chg="add mod">
          <ac:chgData name="Thomas Stensitzki" userId="75cafe6b-2f2a-469b-85c4-eec3b9c972ba" providerId="ADAL" clId="{5A5E689C-724C-4B73-8F29-D21652CCA886}" dt="2021-05-23T09:59:45.589" v="3817" actId="1076"/>
          <ac:spMkLst>
            <pc:docMk/>
            <pc:sldMk cId="3385723586" sldId="841"/>
            <ac:spMk id="64" creationId="{607D9954-A950-471F-8FC0-17FBCCF29FCD}"/>
          </ac:spMkLst>
        </pc:spChg>
        <pc:spChg chg="add mod">
          <ac:chgData name="Thomas Stensitzki" userId="75cafe6b-2f2a-469b-85c4-eec3b9c972ba" providerId="ADAL" clId="{5A5E689C-724C-4B73-8F29-D21652CCA886}" dt="2021-05-23T09:59:56.584" v="3819" actId="1076"/>
          <ac:spMkLst>
            <pc:docMk/>
            <pc:sldMk cId="3385723586" sldId="841"/>
            <ac:spMk id="65" creationId="{EF9FA65F-FFE5-402B-A6EC-7F01B751C68C}"/>
          </ac:spMkLst>
        </pc:spChg>
        <pc:spChg chg="add mod">
          <ac:chgData name="Thomas Stensitzki" userId="75cafe6b-2f2a-469b-85c4-eec3b9c972ba" providerId="ADAL" clId="{5A5E689C-724C-4B73-8F29-D21652CCA886}" dt="2021-05-23T10:00:11.574" v="3825" actId="20577"/>
          <ac:spMkLst>
            <pc:docMk/>
            <pc:sldMk cId="3385723586" sldId="841"/>
            <ac:spMk id="66" creationId="{BA6835CD-5B5C-4B76-9FD3-ED5BD453AC20}"/>
          </ac:spMkLst>
        </pc:spChg>
        <pc:picChg chg="add mod">
          <ac:chgData name="Thomas Stensitzki" userId="75cafe6b-2f2a-469b-85c4-eec3b9c972ba" providerId="ADAL" clId="{5A5E689C-724C-4B73-8F29-D21652CCA886}" dt="2021-05-23T09:57:55.557" v="3802" actId="1037"/>
          <ac:picMkLst>
            <pc:docMk/>
            <pc:sldMk cId="3385723586" sldId="841"/>
            <ac:picMk id="9" creationId="{8E006328-4994-4CE4-8F7F-A81230698821}"/>
          </ac:picMkLst>
        </pc:picChg>
        <pc:picChg chg="add mod">
          <ac:chgData name="Thomas Stensitzki" userId="75cafe6b-2f2a-469b-85c4-eec3b9c972ba" providerId="ADAL" clId="{5A5E689C-724C-4B73-8F29-D21652CCA886}" dt="2021-05-23T09:57:55.557" v="3802" actId="1037"/>
          <ac:picMkLst>
            <pc:docMk/>
            <pc:sldMk cId="3385723586" sldId="841"/>
            <ac:picMk id="10" creationId="{6312AA25-8FD9-4CB3-931B-B88045E98A64}"/>
          </ac:picMkLst>
        </pc:picChg>
        <pc:picChg chg="add mod">
          <ac:chgData name="Thomas Stensitzki" userId="75cafe6b-2f2a-469b-85c4-eec3b9c972ba" providerId="ADAL" clId="{5A5E689C-724C-4B73-8F29-D21652CCA886}" dt="2021-05-23T09:57:55.557" v="3802" actId="1037"/>
          <ac:picMkLst>
            <pc:docMk/>
            <pc:sldMk cId="3385723586" sldId="841"/>
            <ac:picMk id="11" creationId="{A0BE48D1-CFD9-4B24-835C-B9E28817991B}"/>
          </ac:picMkLst>
        </pc:picChg>
        <pc:picChg chg="add mod">
          <ac:chgData name="Thomas Stensitzki" userId="75cafe6b-2f2a-469b-85c4-eec3b9c972ba" providerId="ADAL" clId="{5A5E689C-724C-4B73-8F29-D21652CCA886}" dt="2021-05-23T09:58:35.980" v="3804" actId="1076"/>
          <ac:picMkLst>
            <pc:docMk/>
            <pc:sldMk cId="3385723586" sldId="841"/>
            <ac:picMk id="13" creationId="{25877D5C-1E9C-4033-89F6-B2F6996CF589}"/>
          </ac:picMkLst>
        </pc:picChg>
        <pc:picChg chg="add del mod">
          <ac:chgData name="Thomas Stensitzki" userId="75cafe6b-2f2a-469b-85c4-eec3b9c972ba" providerId="ADAL" clId="{5A5E689C-724C-4B73-8F29-D21652CCA886}" dt="2021-06-03T06:25:59.736" v="3881" actId="478"/>
          <ac:picMkLst>
            <pc:docMk/>
            <pc:sldMk cId="3385723586" sldId="841"/>
            <ac:picMk id="20" creationId="{4D1CD599-2954-4D0F-BA40-589F3596640F}"/>
          </ac:picMkLst>
        </pc:picChg>
        <pc:picChg chg="add del mod">
          <ac:chgData name="Thomas Stensitzki" userId="75cafe6b-2f2a-469b-85c4-eec3b9c972ba" providerId="ADAL" clId="{5A5E689C-724C-4B73-8F29-D21652CCA886}" dt="2021-06-03T06:26:07.699" v="3884" actId="478"/>
          <ac:picMkLst>
            <pc:docMk/>
            <pc:sldMk cId="3385723586" sldId="841"/>
            <ac:picMk id="21" creationId="{F119C692-ECFF-43F1-908B-5EBC65E053FF}"/>
          </ac:picMkLst>
        </pc:picChg>
        <pc:picChg chg="add del mod">
          <ac:chgData name="Thomas Stensitzki" userId="75cafe6b-2f2a-469b-85c4-eec3b9c972ba" providerId="ADAL" clId="{5A5E689C-724C-4B73-8F29-D21652CCA886}" dt="2021-06-03T06:26:07.699" v="3884" actId="478"/>
          <ac:picMkLst>
            <pc:docMk/>
            <pc:sldMk cId="3385723586" sldId="841"/>
            <ac:picMk id="22" creationId="{317A8F07-8CC4-4FE0-80AD-CFBD628DEA1B}"/>
          </ac:picMkLst>
        </pc:picChg>
        <pc:picChg chg="add del mod">
          <ac:chgData name="Thomas Stensitzki" userId="75cafe6b-2f2a-469b-85c4-eec3b9c972ba" providerId="ADAL" clId="{5A5E689C-724C-4B73-8F29-D21652CCA886}" dt="2021-06-03T06:26:07.699" v="3884" actId="478"/>
          <ac:picMkLst>
            <pc:docMk/>
            <pc:sldMk cId="3385723586" sldId="841"/>
            <ac:picMk id="23" creationId="{4E49FFC6-C727-45A3-8981-58A50DDC4853}"/>
          </ac:picMkLst>
        </pc:picChg>
        <pc:picChg chg="add del mod">
          <ac:chgData name="Thomas Stensitzki" userId="75cafe6b-2f2a-469b-85c4-eec3b9c972ba" providerId="ADAL" clId="{5A5E689C-724C-4B73-8F29-D21652CCA886}" dt="2021-06-03T06:26:07.699" v="3884" actId="478"/>
          <ac:picMkLst>
            <pc:docMk/>
            <pc:sldMk cId="3385723586" sldId="841"/>
            <ac:picMk id="24" creationId="{55386A45-4546-4FAE-973B-9C3B307DDC60}"/>
          </ac:picMkLst>
        </pc:picChg>
        <pc:picChg chg="add del mod">
          <ac:chgData name="Thomas Stensitzki" userId="75cafe6b-2f2a-469b-85c4-eec3b9c972ba" providerId="ADAL" clId="{5A5E689C-724C-4B73-8F29-D21652CCA886}" dt="2021-06-03T06:26:07.699" v="3884" actId="478"/>
          <ac:picMkLst>
            <pc:docMk/>
            <pc:sldMk cId="3385723586" sldId="841"/>
            <ac:picMk id="40" creationId="{17BA72C5-37D9-4B4B-9A02-91C35C150DCB}"/>
          </ac:picMkLst>
        </pc:picChg>
        <pc:picChg chg="add del mod">
          <ac:chgData name="Thomas Stensitzki" userId="75cafe6b-2f2a-469b-85c4-eec3b9c972ba" providerId="ADAL" clId="{5A5E689C-724C-4B73-8F29-D21652CCA886}" dt="2021-06-03T06:26:07.699" v="3884" actId="478"/>
          <ac:picMkLst>
            <pc:docMk/>
            <pc:sldMk cId="3385723586" sldId="841"/>
            <ac:picMk id="57" creationId="{0A29B6CA-8C6A-4A05-8BD6-579E207D1547}"/>
          </ac:picMkLst>
        </pc:picChg>
        <pc:picChg chg="add del mod">
          <ac:chgData name="Thomas Stensitzki" userId="75cafe6b-2f2a-469b-85c4-eec3b9c972ba" providerId="ADAL" clId="{5A5E689C-724C-4B73-8F29-D21652CCA886}" dt="2021-06-03T06:26:07.699" v="3884" actId="478"/>
          <ac:picMkLst>
            <pc:docMk/>
            <pc:sldMk cId="3385723586" sldId="841"/>
            <ac:picMk id="58" creationId="{D4518348-9C81-4B71-9324-B48F5C5734F5}"/>
          </ac:picMkLst>
        </pc:picChg>
        <pc:picChg chg="add del mod">
          <ac:chgData name="Thomas Stensitzki" userId="75cafe6b-2f2a-469b-85c4-eec3b9c972ba" providerId="ADAL" clId="{5A5E689C-724C-4B73-8F29-D21652CCA886}" dt="2021-06-03T06:26:07.699" v="3884" actId="478"/>
          <ac:picMkLst>
            <pc:docMk/>
            <pc:sldMk cId="3385723586" sldId="841"/>
            <ac:picMk id="59" creationId="{017C0194-11D7-4554-81DB-1D8400131990}"/>
          </ac:picMkLst>
        </pc:picChg>
        <pc:picChg chg="add del mod">
          <ac:chgData name="Thomas Stensitzki" userId="75cafe6b-2f2a-469b-85c4-eec3b9c972ba" providerId="ADAL" clId="{5A5E689C-724C-4B73-8F29-D21652CCA886}" dt="2021-06-03T06:26:07.699" v="3884" actId="478"/>
          <ac:picMkLst>
            <pc:docMk/>
            <pc:sldMk cId="3385723586" sldId="841"/>
            <ac:picMk id="60" creationId="{7666310D-7392-4EF6-82C7-15E5D8673C46}"/>
          </ac:picMkLst>
        </pc:picChg>
        <pc:cxnChg chg="add mod">
          <ac:chgData name="Thomas Stensitzki" userId="75cafe6b-2f2a-469b-85c4-eec3b9c972ba" providerId="ADAL" clId="{5A5E689C-724C-4B73-8F29-D21652CCA886}" dt="2021-06-03T06:26:29.517" v="3913" actId="1036"/>
          <ac:cxnSpMkLst>
            <pc:docMk/>
            <pc:sldMk cId="3385723586" sldId="841"/>
            <ac:cxnSpMk id="28" creationId="{153CA8EE-092C-4278-B637-E5A802050EB2}"/>
          </ac:cxnSpMkLst>
        </pc:cxnChg>
        <pc:cxnChg chg="add mod">
          <ac:chgData name="Thomas Stensitzki" userId="75cafe6b-2f2a-469b-85c4-eec3b9c972ba" providerId="ADAL" clId="{5A5E689C-724C-4B73-8F29-D21652CCA886}" dt="2021-06-03T06:26:29.517" v="3913" actId="1036"/>
          <ac:cxnSpMkLst>
            <pc:docMk/>
            <pc:sldMk cId="3385723586" sldId="841"/>
            <ac:cxnSpMk id="29" creationId="{EB8C4AB2-2EB2-43BA-BAF4-90CBC568C4D8}"/>
          </ac:cxnSpMkLst>
        </pc:cxnChg>
        <pc:cxnChg chg="add mod">
          <ac:chgData name="Thomas Stensitzki" userId="75cafe6b-2f2a-469b-85c4-eec3b9c972ba" providerId="ADAL" clId="{5A5E689C-724C-4B73-8F29-D21652CCA886}" dt="2021-06-03T06:26:29.517" v="3913" actId="1036"/>
          <ac:cxnSpMkLst>
            <pc:docMk/>
            <pc:sldMk cId="3385723586" sldId="841"/>
            <ac:cxnSpMk id="30" creationId="{699CEF51-CCBC-40B4-80FF-52C07CA28E12}"/>
          </ac:cxnSpMkLst>
        </pc:cxnChg>
        <pc:cxnChg chg="add mod">
          <ac:chgData name="Thomas Stensitzki" userId="75cafe6b-2f2a-469b-85c4-eec3b9c972ba" providerId="ADAL" clId="{5A5E689C-724C-4B73-8F29-D21652CCA886}" dt="2021-06-03T06:26:29.517" v="3913" actId="1036"/>
          <ac:cxnSpMkLst>
            <pc:docMk/>
            <pc:sldMk cId="3385723586" sldId="841"/>
            <ac:cxnSpMk id="31" creationId="{58577485-8463-4C23-8161-F97FDA1A5183}"/>
          </ac:cxnSpMkLst>
        </pc:cxnChg>
        <pc:cxnChg chg="add mod">
          <ac:chgData name="Thomas Stensitzki" userId="75cafe6b-2f2a-469b-85c4-eec3b9c972ba" providerId="ADAL" clId="{5A5E689C-724C-4B73-8F29-D21652CCA886}" dt="2021-06-03T06:26:29.517" v="3913" actId="1036"/>
          <ac:cxnSpMkLst>
            <pc:docMk/>
            <pc:sldMk cId="3385723586" sldId="841"/>
            <ac:cxnSpMk id="32" creationId="{C83C7ABE-CADB-40A8-AB6F-E795E2E8A7DA}"/>
          </ac:cxnSpMkLst>
        </pc:cxnChg>
        <pc:cxnChg chg="add mod">
          <ac:chgData name="Thomas Stensitzki" userId="75cafe6b-2f2a-469b-85c4-eec3b9c972ba" providerId="ADAL" clId="{5A5E689C-724C-4B73-8F29-D21652CCA886}" dt="2021-06-03T06:26:29.517" v="3913" actId="1036"/>
          <ac:cxnSpMkLst>
            <pc:docMk/>
            <pc:sldMk cId="3385723586" sldId="841"/>
            <ac:cxnSpMk id="33" creationId="{83AB07D5-9203-4501-B603-1608B92D7725}"/>
          </ac:cxnSpMkLst>
        </pc:cxnChg>
        <pc:cxnChg chg="add mod">
          <ac:chgData name="Thomas Stensitzki" userId="75cafe6b-2f2a-469b-85c4-eec3b9c972ba" providerId="ADAL" clId="{5A5E689C-724C-4B73-8F29-D21652CCA886}" dt="2021-05-23T09:57:55.557" v="3802" actId="1037"/>
          <ac:cxnSpMkLst>
            <pc:docMk/>
            <pc:sldMk cId="3385723586" sldId="841"/>
            <ac:cxnSpMk id="34" creationId="{1856CCC5-0CD5-48C2-B75B-5A165928A390}"/>
          </ac:cxnSpMkLst>
        </pc:cxnChg>
        <pc:cxnChg chg="add del mod">
          <ac:chgData name="Thomas Stensitzki" userId="75cafe6b-2f2a-469b-85c4-eec3b9c972ba" providerId="ADAL" clId="{5A5E689C-724C-4B73-8F29-D21652CCA886}" dt="2021-06-03T06:25:57.592" v="3879" actId="478"/>
          <ac:cxnSpMkLst>
            <pc:docMk/>
            <pc:sldMk cId="3385723586" sldId="841"/>
            <ac:cxnSpMk id="35" creationId="{99E9D8C8-C427-46DE-82AE-94050C4081DE}"/>
          </ac:cxnSpMkLst>
        </pc:cxnChg>
        <pc:cxnChg chg="add del mod">
          <ac:chgData name="Thomas Stensitzki" userId="75cafe6b-2f2a-469b-85c4-eec3b9c972ba" providerId="ADAL" clId="{5A5E689C-724C-4B73-8F29-D21652CCA886}" dt="2021-06-03T06:25:59.068" v="3880" actId="478"/>
          <ac:cxnSpMkLst>
            <pc:docMk/>
            <pc:sldMk cId="3385723586" sldId="841"/>
            <ac:cxnSpMk id="36" creationId="{C3CBDB3A-9703-47F9-BAE1-AF6F04525F42}"/>
          </ac:cxnSpMkLst>
        </pc:cxnChg>
        <pc:cxnChg chg="add del mod">
          <ac:chgData name="Thomas Stensitzki" userId="75cafe6b-2f2a-469b-85c4-eec3b9c972ba" providerId="ADAL" clId="{5A5E689C-724C-4B73-8F29-D21652CCA886}" dt="2021-06-03T06:26:10.320" v="3885" actId="478"/>
          <ac:cxnSpMkLst>
            <pc:docMk/>
            <pc:sldMk cId="3385723586" sldId="841"/>
            <ac:cxnSpMk id="37" creationId="{1AC973A5-7A52-4E80-8487-478B58E825A7}"/>
          </ac:cxnSpMkLst>
        </pc:cxnChg>
        <pc:cxnChg chg="add del mod">
          <ac:chgData name="Thomas Stensitzki" userId="75cafe6b-2f2a-469b-85c4-eec3b9c972ba" providerId="ADAL" clId="{5A5E689C-724C-4B73-8F29-D21652CCA886}" dt="2021-06-03T06:26:13.269" v="3887" actId="478"/>
          <ac:cxnSpMkLst>
            <pc:docMk/>
            <pc:sldMk cId="3385723586" sldId="841"/>
            <ac:cxnSpMk id="38" creationId="{688DDFA9-2056-46A0-BBFA-6BA1AE88779E}"/>
          </ac:cxnSpMkLst>
        </pc:cxnChg>
        <pc:cxnChg chg="add del mod">
          <ac:chgData name="Thomas Stensitzki" userId="75cafe6b-2f2a-469b-85c4-eec3b9c972ba" providerId="ADAL" clId="{5A5E689C-724C-4B73-8F29-D21652CCA886}" dt="2021-06-03T06:26:15.123" v="3888" actId="478"/>
          <ac:cxnSpMkLst>
            <pc:docMk/>
            <pc:sldMk cId="3385723586" sldId="841"/>
            <ac:cxnSpMk id="39" creationId="{3630C227-BF2E-4A42-BADF-B06038B9ACEB}"/>
          </ac:cxnSpMkLst>
        </pc:cxnChg>
        <pc:cxnChg chg="add del mod">
          <ac:chgData name="Thomas Stensitzki" userId="75cafe6b-2f2a-469b-85c4-eec3b9c972ba" providerId="ADAL" clId="{5A5E689C-724C-4B73-8F29-D21652CCA886}" dt="2021-06-03T06:26:11.591" v="3886" actId="478"/>
          <ac:cxnSpMkLst>
            <pc:docMk/>
            <pc:sldMk cId="3385723586" sldId="841"/>
            <ac:cxnSpMk id="41" creationId="{AF8AE093-1521-46C6-8424-AC52A3C59E35}"/>
          </ac:cxnSpMkLst>
        </pc:cxnChg>
        <pc:cxnChg chg="add mod">
          <ac:chgData name="Thomas Stensitzki" userId="75cafe6b-2f2a-469b-85c4-eec3b9c972ba" providerId="ADAL" clId="{5A5E689C-724C-4B73-8F29-D21652CCA886}" dt="2021-05-23T09:57:55.557" v="3802" actId="1037"/>
          <ac:cxnSpMkLst>
            <pc:docMk/>
            <pc:sldMk cId="3385723586" sldId="841"/>
            <ac:cxnSpMk id="53" creationId="{403C43BE-7DA2-4C73-9489-D8ACFAAA926D}"/>
          </ac:cxnSpMkLst>
        </pc:cxnChg>
        <pc:cxnChg chg="add mod">
          <ac:chgData name="Thomas Stensitzki" userId="75cafe6b-2f2a-469b-85c4-eec3b9c972ba" providerId="ADAL" clId="{5A5E689C-724C-4B73-8F29-D21652CCA886}" dt="2021-06-03T06:26:29.517" v="3913" actId="1036"/>
          <ac:cxnSpMkLst>
            <pc:docMk/>
            <pc:sldMk cId="3385723586" sldId="841"/>
            <ac:cxnSpMk id="54" creationId="{F1E9DA36-4EB2-4B0F-8DAF-37B8D13027FF}"/>
          </ac:cxnSpMkLst>
        </pc:cxnChg>
        <pc:cxnChg chg="add mod">
          <ac:chgData name="Thomas Stensitzki" userId="75cafe6b-2f2a-469b-85c4-eec3b9c972ba" providerId="ADAL" clId="{5A5E689C-724C-4B73-8F29-D21652CCA886}" dt="2021-06-03T06:26:39.165" v="3914" actId="1076"/>
          <ac:cxnSpMkLst>
            <pc:docMk/>
            <pc:sldMk cId="3385723586" sldId="841"/>
            <ac:cxnSpMk id="61" creationId="{5698EC09-04D8-48F8-BE78-A78BA322BF3A}"/>
          </ac:cxnSpMkLst>
        </pc:cxnChg>
      </pc:sldChg>
      <pc:sldChg chg="addSp delSp modSp new del mod modClrScheme chgLayout">
        <pc:chgData name="Thomas Stensitzki" userId="75cafe6b-2f2a-469b-85c4-eec3b9c972ba" providerId="ADAL" clId="{5A5E689C-724C-4B73-8F29-D21652CCA886}" dt="2021-06-03T06:28:15.296" v="3923" actId="47"/>
        <pc:sldMkLst>
          <pc:docMk/>
          <pc:sldMk cId="2991538421" sldId="842"/>
        </pc:sldMkLst>
        <pc:spChg chg="del">
          <ac:chgData name="Thomas Stensitzki" userId="75cafe6b-2f2a-469b-85c4-eec3b9c972ba" providerId="ADAL" clId="{5A5E689C-724C-4B73-8F29-D21652CCA886}" dt="2021-06-03T06:17:43.126" v="3841" actId="700"/>
          <ac:spMkLst>
            <pc:docMk/>
            <pc:sldMk cId="2991538421" sldId="842"/>
            <ac:spMk id="2" creationId="{5097CBFE-BDA8-405F-8F43-2A2742DEEB75}"/>
          </ac:spMkLst>
        </pc:spChg>
        <pc:spChg chg="del">
          <ac:chgData name="Thomas Stensitzki" userId="75cafe6b-2f2a-469b-85c4-eec3b9c972ba" providerId="ADAL" clId="{5A5E689C-724C-4B73-8F29-D21652CCA886}" dt="2021-06-03T06:17:43.126" v="3841" actId="700"/>
          <ac:spMkLst>
            <pc:docMk/>
            <pc:sldMk cId="2991538421" sldId="842"/>
            <ac:spMk id="3" creationId="{AB287C4B-4CC7-4A6E-A2EE-311867DF4660}"/>
          </ac:spMkLst>
        </pc:spChg>
        <pc:picChg chg="add mod">
          <ac:chgData name="Thomas Stensitzki" userId="75cafe6b-2f2a-469b-85c4-eec3b9c972ba" providerId="ADAL" clId="{5A5E689C-724C-4B73-8F29-D21652CCA886}" dt="2021-06-03T06:18:15.854" v="3843" actId="1076"/>
          <ac:picMkLst>
            <pc:docMk/>
            <pc:sldMk cId="2991538421" sldId="842"/>
            <ac:picMk id="5" creationId="{7846D10F-9A17-4410-A6F4-E8815B40F7AF}"/>
          </ac:picMkLst>
        </pc:picChg>
        <pc:picChg chg="add del mod">
          <ac:chgData name="Thomas Stensitzki" userId="75cafe6b-2f2a-469b-85c4-eec3b9c972ba" providerId="ADAL" clId="{5A5E689C-724C-4B73-8F29-D21652CCA886}" dt="2021-06-03T06:18:34.748" v="3849" actId="478"/>
          <ac:picMkLst>
            <pc:docMk/>
            <pc:sldMk cId="2991538421" sldId="842"/>
            <ac:picMk id="7" creationId="{2D24EFE0-A1FD-4E78-8799-8E16DC66C596}"/>
          </ac:picMkLst>
        </pc:picChg>
        <pc:picChg chg="add mod">
          <ac:chgData name="Thomas Stensitzki" userId="75cafe6b-2f2a-469b-85c4-eec3b9c972ba" providerId="ADAL" clId="{5A5E689C-724C-4B73-8F29-D21652CCA886}" dt="2021-06-03T06:18:38.712" v="3850" actId="1076"/>
          <ac:picMkLst>
            <pc:docMk/>
            <pc:sldMk cId="2991538421" sldId="842"/>
            <ac:picMk id="9" creationId="{DEB6BCC1-D208-429D-961C-DDB9CAD40B3D}"/>
          </ac:picMkLst>
        </pc:picChg>
        <pc:picChg chg="add mod">
          <ac:chgData name="Thomas Stensitzki" userId="75cafe6b-2f2a-469b-85c4-eec3b9c972ba" providerId="ADAL" clId="{5A5E689C-724C-4B73-8F29-D21652CCA886}" dt="2021-06-03T06:19:02.559" v="3853" actId="1076"/>
          <ac:picMkLst>
            <pc:docMk/>
            <pc:sldMk cId="2991538421" sldId="842"/>
            <ac:picMk id="11" creationId="{7545225E-8BAB-4CAD-9F54-371107B07125}"/>
          </ac:picMkLst>
        </pc:picChg>
        <pc:picChg chg="add del mod">
          <ac:chgData name="Thomas Stensitzki" userId="75cafe6b-2f2a-469b-85c4-eec3b9c972ba" providerId="ADAL" clId="{5A5E689C-724C-4B73-8F29-D21652CCA886}" dt="2021-06-03T06:19:39.189" v="3860" actId="478"/>
          <ac:picMkLst>
            <pc:docMk/>
            <pc:sldMk cId="2991538421" sldId="842"/>
            <ac:picMk id="13" creationId="{6134B872-0E33-4995-A923-A8C43125D54F}"/>
          </ac:picMkLst>
        </pc:picChg>
        <pc:picChg chg="add mod">
          <ac:chgData name="Thomas Stensitzki" userId="75cafe6b-2f2a-469b-85c4-eec3b9c972ba" providerId="ADAL" clId="{5A5E689C-724C-4B73-8F29-D21652CCA886}" dt="2021-06-03T06:19:37.477" v="3859"/>
          <ac:picMkLst>
            <pc:docMk/>
            <pc:sldMk cId="2991538421" sldId="842"/>
            <ac:picMk id="14" creationId="{45D4D9E6-862D-4F8A-9453-1CF5E66A36B1}"/>
          </ac:picMkLst>
        </pc:picChg>
      </pc:sldChg>
      <pc:sldChg chg="modSp add del mod">
        <pc:chgData name="Thomas Stensitzki" userId="75cafe6b-2f2a-469b-85c4-eec3b9c972ba" providerId="ADAL" clId="{5A5E689C-724C-4B73-8F29-D21652CCA886}" dt="2021-06-03T06:28:03.533" v="3919" actId="2696"/>
        <pc:sldMkLst>
          <pc:docMk/>
          <pc:sldMk cId="725635910" sldId="843"/>
        </pc:sldMkLst>
        <pc:picChg chg="mod">
          <ac:chgData name="Thomas Stensitzki" userId="75cafe6b-2f2a-469b-85c4-eec3b9c972ba" providerId="ADAL" clId="{5A5E689C-724C-4B73-8F29-D21652CCA886}" dt="2021-06-03T06:28:00.279" v="3917" actId="1076"/>
          <ac:picMkLst>
            <pc:docMk/>
            <pc:sldMk cId="725635910" sldId="843"/>
            <ac:picMk id="11" creationId="{7545225E-8BAB-4CAD-9F54-371107B07125}"/>
          </ac:picMkLst>
        </pc:picChg>
      </pc:sldChg>
      <pc:sldChg chg="add ord">
        <pc:chgData name="Thomas Stensitzki" userId="75cafe6b-2f2a-469b-85c4-eec3b9c972ba" providerId="ADAL" clId="{5A5E689C-724C-4B73-8F29-D21652CCA886}" dt="2021-06-03T06:28:13.296" v="3922"/>
        <pc:sldMkLst>
          <pc:docMk/>
          <pc:sldMk cId="3034467276" sldId="844"/>
        </pc:sldMkLst>
      </pc:sldChg>
      <pc:sldChg chg="addSp modSp add mod ord modAnim">
        <pc:chgData name="Thomas Stensitzki" userId="75cafe6b-2f2a-469b-85c4-eec3b9c972ba" providerId="ADAL" clId="{5A5E689C-724C-4B73-8F29-D21652CCA886}" dt="2021-06-04T06:15:49.901" v="4629"/>
        <pc:sldMkLst>
          <pc:docMk/>
          <pc:sldMk cId="1716371108" sldId="845"/>
        </pc:sldMkLst>
        <pc:spChg chg="mod">
          <ac:chgData name="Thomas Stensitzki" userId="75cafe6b-2f2a-469b-85c4-eec3b9c972ba" providerId="ADAL" clId="{5A5E689C-724C-4B73-8F29-D21652CCA886}" dt="2021-06-03T06:47:00.699" v="4002" actId="20577"/>
          <ac:spMkLst>
            <pc:docMk/>
            <pc:sldMk cId="1716371108" sldId="845"/>
            <ac:spMk id="3" creationId="{DCC149E3-33D1-40A3-BA0E-AAF143934FBC}"/>
          </ac:spMkLst>
        </pc:spChg>
        <pc:spChg chg="mod">
          <ac:chgData name="Thomas Stensitzki" userId="75cafe6b-2f2a-469b-85c4-eec3b9c972ba" providerId="ADAL" clId="{5A5E689C-724C-4B73-8F29-D21652CCA886}" dt="2021-06-04T06:15:34.070" v="4628" actId="20577"/>
          <ac:spMkLst>
            <pc:docMk/>
            <pc:sldMk cId="1716371108" sldId="845"/>
            <ac:spMk id="5" creationId="{FF50178B-4696-461E-BF02-0ABEC5D0F6E5}"/>
          </ac:spMkLst>
        </pc:spChg>
        <pc:spChg chg="add mod">
          <ac:chgData name="Thomas Stensitzki" userId="75cafe6b-2f2a-469b-85c4-eec3b9c972ba" providerId="ADAL" clId="{5A5E689C-724C-4B73-8F29-D21652CCA886}" dt="2021-06-03T18:28:08.911" v="4185" actId="1076"/>
          <ac:spMkLst>
            <pc:docMk/>
            <pc:sldMk cId="1716371108" sldId="845"/>
            <ac:spMk id="7" creationId="{B482E7CA-B96A-4D3B-A110-839EF7BFE757}"/>
          </ac:spMkLst>
        </pc:spChg>
        <pc:picChg chg="add mod">
          <ac:chgData name="Thomas Stensitzki" userId="75cafe6b-2f2a-469b-85c4-eec3b9c972ba" providerId="ADAL" clId="{5A5E689C-724C-4B73-8F29-D21652CCA886}" dt="2021-06-03T18:24:21.612" v="4164" actId="1076"/>
          <ac:picMkLst>
            <pc:docMk/>
            <pc:sldMk cId="1716371108" sldId="845"/>
            <ac:picMk id="6" creationId="{B1B9426B-B8D9-4C2B-8955-4A521E67EC6E}"/>
          </ac:picMkLst>
        </pc:picChg>
      </pc:sldChg>
      <pc:sldChg chg="modSp add mod ord">
        <pc:chgData name="Thomas Stensitzki" userId="75cafe6b-2f2a-469b-85c4-eec3b9c972ba" providerId="ADAL" clId="{5A5E689C-724C-4B73-8F29-D21652CCA886}" dt="2021-06-03T06:41:49.650" v="3976"/>
        <pc:sldMkLst>
          <pc:docMk/>
          <pc:sldMk cId="621975233" sldId="846"/>
        </pc:sldMkLst>
        <pc:spChg chg="mod">
          <ac:chgData name="Thomas Stensitzki" userId="75cafe6b-2f2a-469b-85c4-eec3b9c972ba" providerId="ADAL" clId="{5A5E689C-724C-4B73-8F29-D21652CCA886}" dt="2021-06-03T06:37:42.228" v="3963" actId="20577"/>
          <ac:spMkLst>
            <pc:docMk/>
            <pc:sldMk cId="621975233" sldId="846"/>
            <ac:spMk id="2" creationId="{D662EBF0-9017-4F02-A5BF-883C7D2B098A}"/>
          </ac:spMkLst>
        </pc:spChg>
        <pc:spChg chg="mod">
          <ac:chgData name="Thomas Stensitzki" userId="75cafe6b-2f2a-469b-85c4-eec3b9c972ba" providerId="ADAL" clId="{5A5E689C-724C-4B73-8F29-D21652CCA886}" dt="2021-06-03T06:37:45.433" v="3964" actId="20577"/>
          <ac:spMkLst>
            <pc:docMk/>
            <pc:sldMk cId="621975233" sldId="846"/>
            <ac:spMk id="3" creationId="{DCC149E3-33D1-40A3-BA0E-AAF143934FBC}"/>
          </ac:spMkLst>
        </pc:spChg>
        <pc:spChg chg="mod">
          <ac:chgData name="Thomas Stensitzki" userId="75cafe6b-2f2a-469b-85c4-eec3b9c972ba" providerId="ADAL" clId="{5A5E689C-724C-4B73-8F29-D21652CCA886}" dt="2021-06-03T06:41:49.650" v="3976"/>
          <ac:spMkLst>
            <pc:docMk/>
            <pc:sldMk cId="621975233" sldId="846"/>
            <ac:spMk id="5" creationId="{FF50178B-4696-461E-BF02-0ABEC5D0F6E5}"/>
          </ac:spMkLst>
        </pc:spChg>
      </pc:sldChg>
      <pc:sldChg chg="modSp add mod ord">
        <pc:chgData name="Thomas Stensitzki" userId="75cafe6b-2f2a-469b-85c4-eec3b9c972ba" providerId="ADAL" clId="{5A5E689C-724C-4B73-8F29-D21652CCA886}" dt="2021-06-04T08:37:15.024" v="4641" actId="6549"/>
        <pc:sldMkLst>
          <pc:docMk/>
          <pc:sldMk cId="4166170623" sldId="847"/>
        </pc:sldMkLst>
        <pc:spChg chg="mod">
          <ac:chgData name="Thomas Stensitzki" userId="75cafe6b-2f2a-469b-85c4-eec3b9c972ba" providerId="ADAL" clId="{5A5E689C-724C-4B73-8F29-D21652CCA886}" dt="2021-06-04T08:37:15.024" v="4641" actId="6549"/>
          <ac:spMkLst>
            <pc:docMk/>
            <pc:sldMk cId="4166170623" sldId="847"/>
            <ac:spMk id="2" creationId="{00000000-0000-0000-0000-000000000000}"/>
          </ac:spMkLst>
        </pc:spChg>
      </pc:sldChg>
      <pc:sldChg chg="new del">
        <pc:chgData name="Thomas Stensitzki" userId="75cafe6b-2f2a-469b-85c4-eec3b9c972ba" providerId="ADAL" clId="{5A5E689C-724C-4B73-8F29-D21652CCA886}" dt="2021-06-03T18:42:13.914" v="4407" actId="2696"/>
        <pc:sldMkLst>
          <pc:docMk/>
          <pc:sldMk cId="748782729" sldId="848"/>
        </pc:sldMkLst>
      </pc:sldChg>
      <pc:sldMasterChg chg="delSldLayout">
        <pc:chgData name="Thomas Stensitzki" userId="75cafe6b-2f2a-469b-85c4-eec3b9c972ba" providerId="ADAL" clId="{5A5E689C-724C-4B73-8F29-D21652CCA886}" dt="2021-05-23T09:57:14.609" v="3765" actId="47"/>
        <pc:sldMasterMkLst>
          <pc:docMk/>
          <pc:sldMasterMk cId="1187222015" sldId="2147483673"/>
        </pc:sldMasterMkLst>
        <pc:sldLayoutChg chg="del">
          <pc:chgData name="Thomas Stensitzki" userId="75cafe6b-2f2a-469b-85c4-eec3b9c972ba" providerId="ADAL" clId="{5A5E689C-724C-4B73-8F29-D21652CCA886}" dt="2021-05-23T09:57:14.609" v="3765" actId="47"/>
          <pc:sldLayoutMkLst>
            <pc:docMk/>
            <pc:sldMasterMk cId="1187222015" sldId="2147483673"/>
            <pc:sldLayoutMk cId="1294034411" sldId="2147483700"/>
          </pc:sldLayoutMkLst>
        </pc:sldLayoutChg>
      </pc:sldMasterChg>
      <pc:sldMasterChg chg="delSldLayout">
        <pc:chgData name="Thomas Stensitzki" userId="75cafe6b-2f2a-469b-85c4-eec3b9c972ba" providerId="ADAL" clId="{5A5E689C-724C-4B73-8F29-D21652CCA886}" dt="2021-05-23T09:57:14.609" v="3765" actId="47"/>
        <pc:sldMasterMkLst>
          <pc:docMk/>
          <pc:sldMasterMk cId="1129742936" sldId="2147483731"/>
        </pc:sldMasterMkLst>
        <pc:sldLayoutChg chg="del">
          <pc:chgData name="Thomas Stensitzki" userId="75cafe6b-2f2a-469b-85c4-eec3b9c972ba" providerId="ADAL" clId="{5A5E689C-724C-4B73-8F29-D21652CCA886}" dt="2021-05-23T09:57:14.609" v="3765" actId="47"/>
          <pc:sldLayoutMkLst>
            <pc:docMk/>
            <pc:sldMasterMk cId="1129742936" sldId="2147483731"/>
            <pc:sldLayoutMk cId="2035049053" sldId="2147483734"/>
          </pc:sldLayoutMkLst>
        </pc:sldLayoutChg>
      </pc:sldMasterChg>
      <pc:sldMasterChg chg="delSldLayout">
        <pc:chgData name="Thomas Stensitzki" userId="75cafe6b-2f2a-469b-85c4-eec3b9c972ba" providerId="ADAL" clId="{5A5E689C-724C-4B73-8F29-D21652CCA886}" dt="2021-05-23T09:57:14.609" v="3765" actId="47"/>
        <pc:sldMasterMkLst>
          <pc:docMk/>
          <pc:sldMasterMk cId="3630494623" sldId="2147483735"/>
        </pc:sldMasterMkLst>
        <pc:sldLayoutChg chg="del">
          <pc:chgData name="Thomas Stensitzki" userId="75cafe6b-2f2a-469b-85c4-eec3b9c972ba" providerId="ADAL" clId="{5A5E689C-724C-4B73-8F29-D21652CCA886}" dt="2021-05-23T09:57:14.609" v="3765" actId="47"/>
          <pc:sldLayoutMkLst>
            <pc:docMk/>
            <pc:sldMasterMk cId="3630494623" sldId="2147483735"/>
            <pc:sldLayoutMk cId="2157087952" sldId="2147483738"/>
          </pc:sldLayoutMkLst>
        </pc:sldLayoutChg>
      </pc:sldMasterChg>
      <pc:sldMasterChg chg="delSldLayout">
        <pc:chgData name="Thomas Stensitzki" userId="75cafe6b-2f2a-469b-85c4-eec3b9c972ba" providerId="ADAL" clId="{5A5E689C-724C-4B73-8F29-D21652CCA886}" dt="2021-05-23T09:57:14.609" v="3765" actId="47"/>
        <pc:sldMasterMkLst>
          <pc:docMk/>
          <pc:sldMasterMk cId="331560940" sldId="2147483739"/>
        </pc:sldMasterMkLst>
        <pc:sldLayoutChg chg="del">
          <pc:chgData name="Thomas Stensitzki" userId="75cafe6b-2f2a-469b-85c4-eec3b9c972ba" providerId="ADAL" clId="{5A5E689C-724C-4B73-8F29-D21652CCA886}" dt="2021-05-23T09:57:14.609" v="3765" actId="47"/>
          <pc:sldLayoutMkLst>
            <pc:docMk/>
            <pc:sldMasterMk cId="331560940" sldId="2147483739"/>
            <pc:sldLayoutMk cId="1801372163" sldId="2147483742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50B8FC-714E-48A2-8E44-56D25F758704}" type="datetimeFigureOut">
              <a:rPr lang="de-DE" smtClean="0"/>
              <a:t>04.06.2021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EA0638-1204-433B-84FC-523B5B170F5E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859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9C9874-DE1E-48CB-A603-4C70CD126593}" type="datetimeFigureOut">
              <a:rPr lang="de-DE" smtClean="0"/>
              <a:pPr/>
              <a:t>04.06.20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5400" y="744538"/>
            <a:ext cx="661828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4CEB38-DA38-4F43-AFB8-94FE45CA586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976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18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35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54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69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86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104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38" algn="l" defTabSz="9140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7"/>
          <p:cNvSpPr txBox="1">
            <a:spLocks noGrp="1" noChangeArrowheads="1"/>
          </p:cNvSpPr>
          <p:nvPr/>
        </p:nvSpPr>
        <p:spPr bwMode="auto">
          <a:xfrm>
            <a:off x="3777608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6" tIns="45713" rIns="91426" bIns="45713" anchor="b"/>
          <a:lstStyle/>
          <a:p>
            <a:pPr algn="r"/>
            <a:fld id="{F57D06E3-AE3D-498F-94DB-DD6B1B9AA1BA}" type="slidenum">
              <a:rPr lang="en-US" sz="1200" noProof="1" smtClean="0"/>
              <a:pPr algn="r"/>
              <a:t>1</a:t>
            </a:fld>
            <a:endParaRPr lang="en-US" sz="1200" noProof="1"/>
          </a:p>
        </p:txBody>
      </p:sp>
      <p:sp>
        <p:nvSpPr>
          <p:cNvPr id="231427" name="Rectangle 7"/>
          <p:cNvSpPr txBox="1">
            <a:spLocks noGrp="1" noChangeArrowheads="1"/>
          </p:cNvSpPr>
          <p:nvPr/>
        </p:nvSpPr>
        <p:spPr bwMode="auto">
          <a:xfrm>
            <a:off x="3780695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09" tIns="47409" rIns="94809" bIns="47409" anchor="b"/>
          <a:lstStyle/>
          <a:p>
            <a:pPr algn="r" defTabSz="947592"/>
            <a:fld id="{4325F0E8-AEB7-4879-A06E-A5A28001E07F}" type="slidenum">
              <a:rPr lang="en-US" sz="1300" smtClean="0"/>
              <a:pPr algn="r" defTabSz="947592"/>
              <a:t>1</a:t>
            </a:fld>
            <a:endParaRPr lang="en-US" sz="1300" dirty="0"/>
          </a:p>
        </p:txBody>
      </p:sp>
      <p:sp>
        <p:nvSpPr>
          <p:cNvPr id="2314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400" y="744538"/>
            <a:ext cx="6619875" cy="3724275"/>
          </a:xfrm>
          <a:ln/>
        </p:spPr>
      </p:sp>
      <p:sp>
        <p:nvSpPr>
          <p:cNvPr id="2314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3" y="4715154"/>
            <a:ext cx="4890665" cy="4466987"/>
          </a:xfrm>
          <a:noFill/>
          <a:ln/>
        </p:spPr>
        <p:txBody>
          <a:bodyPr lIns="94809" tIns="47409" rIns="94809" bIns="47409"/>
          <a:lstStyle/>
          <a:p>
            <a:pPr eaLnBrk="1" hangingPunct="1"/>
            <a:endParaRPr lang="en-US" noProof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9830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2263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4345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7"/>
          <p:cNvSpPr txBox="1">
            <a:spLocks noGrp="1" noChangeArrowheads="1"/>
          </p:cNvSpPr>
          <p:nvPr/>
        </p:nvSpPr>
        <p:spPr bwMode="auto">
          <a:xfrm>
            <a:off x="3777608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6" tIns="45713" rIns="91426" bIns="45713" anchor="b"/>
          <a:lstStyle/>
          <a:p>
            <a:pPr algn="r"/>
            <a:fld id="{F57D06E3-AE3D-498F-94DB-DD6B1B9AA1BA}" type="slidenum">
              <a:rPr lang="en-US" sz="1200" noProof="1" smtClean="0"/>
              <a:pPr algn="r"/>
              <a:t>14</a:t>
            </a:fld>
            <a:endParaRPr lang="en-US" sz="1200" noProof="1"/>
          </a:p>
        </p:txBody>
      </p:sp>
      <p:sp>
        <p:nvSpPr>
          <p:cNvPr id="231427" name="Rectangle 7"/>
          <p:cNvSpPr txBox="1">
            <a:spLocks noGrp="1" noChangeArrowheads="1"/>
          </p:cNvSpPr>
          <p:nvPr/>
        </p:nvSpPr>
        <p:spPr bwMode="auto">
          <a:xfrm>
            <a:off x="3780695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09" tIns="47409" rIns="94809" bIns="47409" anchor="b"/>
          <a:lstStyle/>
          <a:p>
            <a:pPr algn="r" defTabSz="947592"/>
            <a:fld id="{4325F0E8-AEB7-4879-A06E-A5A28001E07F}" type="slidenum">
              <a:rPr lang="en-US" sz="1300" smtClean="0"/>
              <a:pPr algn="r" defTabSz="947592"/>
              <a:t>14</a:t>
            </a:fld>
            <a:endParaRPr lang="en-US" sz="1300" dirty="0"/>
          </a:p>
        </p:txBody>
      </p:sp>
      <p:sp>
        <p:nvSpPr>
          <p:cNvPr id="2314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400" y="744538"/>
            <a:ext cx="6619875" cy="3724275"/>
          </a:xfrm>
          <a:ln/>
        </p:spPr>
      </p:sp>
      <p:sp>
        <p:nvSpPr>
          <p:cNvPr id="2314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3" y="4715154"/>
            <a:ext cx="4890665" cy="4466987"/>
          </a:xfrm>
          <a:noFill/>
          <a:ln/>
        </p:spPr>
        <p:txBody>
          <a:bodyPr lIns="94809" tIns="47409" rIns="94809" bIns="47409"/>
          <a:lstStyle/>
          <a:p>
            <a:pPr eaLnBrk="1" hangingPunct="1"/>
            <a:endParaRPr lang="en-US" noProof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6141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7"/>
          <p:cNvSpPr txBox="1">
            <a:spLocks noGrp="1" noChangeArrowheads="1"/>
          </p:cNvSpPr>
          <p:nvPr/>
        </p:nvSpPr>
        <p:spPr bwMode="auto">
          <a:xfrm>
            <a:off x="3777608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6" tIns="45713" rIns="91426" bIns="45713" anchor="b"/>
          <a:lstStyle/>
          <a:p>
            <a:pPr algn="r"/>
            <a:fld id="{F57D06E3-AE3D-498F-94DB-DD6B1B9AA1BA}" type="slidenum">
              <a:rPr lang="en-US" sz="1200" noProof="1" smtClean="0"/>
              <a:pPr algn="r"/>
              <a:t>16</a:t>
            </a:fld>
            <a:endParaRPr lang="en-US" sz="1200" noProof="1"/>
          </a:p>
        </p:txBody>
      </p:sp>
      <p:sp>
        <p:nvSpPr>
          <p:cNvPr id="231427" name="Rectangle 7"/>
          <p:cNvSpPr txBox="1">
            <a:spLocks noGrp="1" noChangeArrowheads="1"/>
          </p:cNvSpPr>
          <p:nvPr/>
        </p:nvSpPr>
        <p:spPr bwMode="auto">
          <a:xfrm>
            <a:off x="3780695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09" tIns="47409" rIns="94809" bIns="47409" anchor="b"/>
          <a:lstStyle/>
          <a:p>
            <a:pPr algn="r" defTabSz="947592"/>
            <a:fld id="{4325F0E8-AEB7-4879-A06E-A5A28001E07F}" type="slidenum">
              <a:rPr lang="en-US" sz="1300" smtClean="0"/>
              <a:pPr algn="r" defTabSz="947592"/>
              <a:t>16</a:t>
            </a:fld>
            <a:endParaRPr lang="en-US" sz="1300" dirty="0"/>
          </a:p>
        </p:txBody>
      </p:sp>
      <p:sp>
        <p:nvSpPr>
          <p:cNvPr id="2314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400" y="744538"/>
            <a:ext cx="6619875" cy="3724275"/>
          </a:xfrm>
          <a:ln/>
        </p:spPr>
      </p:sp>
      <p:sp>
        <p:nvSpPr>
          <p:cNvPr id="2314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3" y="4715154"/>
            <a:ext cx="4890665" cy="4466987"/>
          </a:xfrm>
          <a:noFill/>
          <a:ln/>
        </p:spPr>
        <p:txBody>
          <a:bodyPr lIns="94809" tIns="47409" rIns="94809" bIns="47409"/>
          <a:lstStyle/>
          <a:p>
            <a:pPr eaLnBrk="1" hangingPunct="1"/>
            <a:endParaRPr lang="en-US" noProof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2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 userDrawn="1"/>
        </p:nvGrpSpPr>
        <p:grpSpPr>
          <a:xfrm>
            <a:off x="-279398" y="0"/>
            <a:ext cx="12749214" cy="6858000"/>
            <a:chOff x="-279400" y="0"/>
            <a:chExt cx="12749213" cy="6858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-12138" y="0"/>
              <a:ext cx="12202556" cy="6858000"/>
            </a:xfrm>
            <a:prstGeom prst="rect">
              <a:avLst/>
            </a:prstGeom>
            <a:solidFill>
              <a:srgbClr val="8D9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12" name="Gruppieren 11"/>
            <p:cNvGrpSpPr/>
            <p:nvPr userDrawn="1"/>
          </p:nvGrpSpPr>
          <p:grpSpPr>
            <a:xfrm>
              <a:off x="-279400" y="3046413"/>
              <a:ext cx="12749213" cy="3163887"/>
              <a:chOff x="-276225" y="3046413"/>
              <a:chExt cx="12749213" cy="3163887"/>
            </a:xfrm>
            <a:solidFill>
              <a:schemeClr val="bg1"/>
            </a:solidFill>
          </p:grpSpPr>
          <p:sp>
            <p:nvSpPr>
              <p:cNvPr id="14" name="Freeform 7"/>
              <p:cNvSpPr>
                <a:spLocks noEditPoints="1"/>
              </p:cNvSpPr>
              <p:nvPr userDrawn="1"/>
            </p:nvSpPr>
            <p:spPr bwMode="auto">
              <a:xfrm>
                <a:off x="-276225" y="3046413"/>
                <a:ext cx="12749213" cy="3163887"/>
              </a:xfrm>
              <a:custGeom>
                <a:avLst/>
                <a:gdLst>
                  <a:gd name="T0" fmla="*/ 3618 w 4014"/>
                  <a:gd name="T1" fmla="*/ 28 h 996"/>
                  <a:gd name="T2" fmla="*/ 3397 w 4014"/>
                  <a:gd name="T3" fmla="*/ 411 h 996"/>
                  <a:gd name="T4" fmla="*/ 2836 w 4014"/>
                  <a:gd name="T5" fmla="*/ 365 h 996"/>
                  <a:gd name="T6" fmla="*/ 2841 w 4014"/>
                  <a:gd name="T7" fmla="*/ 65 h 996"/>
                  <a:gd name="T8" fmla="*/ 2685 w 4014"/>
                  <a:gd name="T9" fmla="*/ 168 h 996"/>
                  <a:gd name="T10" fmla="*/ 2523 w 4014"/>
                  <a:gd name="T11" fmla="*/ 134 h 996"/>
                  <a:gd name="T12" fmla="*/ 2553 w 4014"/>
                  <a:gd name="T13" fmla="*/ 407 h 996"/>
                  <a:gd name="T14" fmla="*/ 1431 w 4014"/>
                  <a:gd name="T15" fmla="*/ 508 h 996"/>
                  <a:gd name="T16" fmla="*/ 1378 w 4014"/>
                  <a:gd name="T17" fmla="*/ 180 h 996"/>
                  <a:gd name="T18" fmla="*/ 1149 w 4014"/>
                  <a:gd name="T19" fmla="*/ 430 h 996"/>
                  <a:gd name="T20" fmla="*/ 794 w 4014"/>
                  <a:gd name="T21" fmla="*/ 80 h 996"/>
                  <a:gd name="T22" fmla="*/ 780 w 4014"/>
                  <a:gd name="T23" fmla="*/ 87 h 996"/>
                  <a:gd name="T24" fmla="*/ 706 w 4014"/>
                  <a:gd name="T25" fmla="*/ 344 h 996"/>
                  <a:gd name="T26" fmla="*/ 231 w 4014"/>
                  <a:gd name="T27" fmla="*/ 199 h 996"/>
                  <a:gd name="T28" fmla="*/ 84 w 4014"/>
                  <a:gd name="T29" fmla="*/ 207 h 996"/>
                  <a:gd name="T30" fmla="*/ 230 w 4014"/>
                  <a:gd name="T31" fmla="*/ 516 h 996"/>
                  <a:gd name="T32" fmla="*/ 244 w 4014"/>
                  <a:gd name="T33" fmla="*/ 523 h 996"/>
                  <a:gd name="T34" fmla="*/ 653 w 4014"/>
                  <a:gd name="T35" fmla="*/ 397 h 996"/>
                  <a:gd name="T36" fmla="*/ 902 w 4014"/>
                  <a:gd name="T37" fmla="*/ 346 h 996"/>
                  <a:gd name="T38" fmla="*/ 1068 w 4014"/>
                  <a:gd name="T39" fmla="*/ 567 h 996"/>
                  <a:gd name="T40" fmla="*/ 1073 w 4014"/>
                  <a:gd name="T41" fmla="*/ 583 h 996"/>
                  <a:gd name="T42" fmla="*/ 1341 w 4014"/>
                  <a:gd name="T43" fmla="*/ 711 h 996"/>
                  <a:gd name="T44" fmla="*/ 1353 w 4014"/>
                  <a:gd name="T45" fmla="*/ 641 h 996"/>
                  <a:gd name="T46" fmla="*/ 2350 w 4014"/>
                  <a:gd name="T47" fmla="*/ 651 h 996"/>
                  <a:gd name="T48" fmla="*/ 2757 w 4014"/>
                  <a:gd name="T49" fmla="*/ 535 h 996"/>
                  <a:gd name="T50" fmla="*/ 2773 w 4014"/>
                  <a:gd name="T51" fmla="*/ 530 h 996"/>
                  <a:gd name="T52" fmla="*/ 3085 w 4014"/>
                  <a:gd name="T53" fmla="*/ 622 h 996"/>
                  <a:gd name="T54" fmla="*/ 3065 w 4014"/>
                  <a:gd name="T55" fmla="*/ 833 h 996"/>
                  <a:gd name="T56" fmla="*/ 3459 w 4014"/>
                  <a:gd name="T57" fmla="*/ 656 h 996"/>
                  <a:gd name="T58" fmla="*/ 3464 w 4014"/>
                  <a:gd name="T59" fmla="*/ 641 h 996"/>
                  <a:gd name="T60" fmla="*/ 3442 w 4014"/>
                  <a:gd name="T61" fmla="*/ 456 h 996"/>
                  <a:gd name="T62" fmla="*/ 3726 w 4014"/>
                  <a:gd name="T63" fmla="*/ 244 h 996"/>
                  <a:gd name="T64" fmla="*/ 3930 w 4014"/>
                  <a:gd name="T65" fmla="*/ 287 h 996"/>
                  <a:gd name="T66" fmla="*/ 2796 w 4014"/>
                  <a:gd name="T67" fmla="*/ 42 h 996"/>
                  <a:gd name="T68" fmla="*/ 2536 w 4014"/>
                  <a:gd name="T69" fmla="*/ 134 h 996"/>
                  <a:gd name="T70" fmla="*/ 1378 w 4014"/>
                  <a:gd name="T71" fmla="*/ 202 h 996"/>
                  <a:gd name="T72" fmla="*/ 744 w 4014"/>
                  <a:gd name="T73" fmla="*/ 45 h 996"/>
                  <a:gd name="T74" fmla="*/ 84 w 4014"/>
                  <a:gd name="T75" fmla="*/ 166 h 996"/>
                  <a:gd name="T76" fmla="*/ 214 w 4014"/>
                  <a:gd name="T77" fmla="*/ 593 h 996"/>
                  <a:gd name="T78" fmla="*/ 388 w 4014"/>
                  <a:gd name="T79" fmla="*/ 385 h 996"/>
                  <a:gd name="T80" fmla="*/ 706 w 4014"/>
                  <a:gd name="T81" fmla="*/ 423 h 996"/>
                  <a:gd name="T82" fmla="*/ 902 w 4014"/>
                  <a:gd name="T83" fmla="*/ 298 h 996"/>
                  <a:gd name="T84" fmla="*/ 1028 w 4014"/>
                  <a:gd name="T85" fmla="*/ 611 h 996"/>
                  <a:gd name="T86" fmla="*/ 1408 w 4014"/>
                  <a:gd name="T87" fmla="*/ 711 h 996"/>
                  <a:gd name="T88" fmla="*/ 1279 w 4014"/>
                  <a:gd name="T89" fmla="*/ 595 h 996"/>
                  <a:gd name="T90" fmla="*/ 2005 w 4014"/>
                  <a:gd name="T91" fmla="*/ 866 h 996"/>
                  <a:gd name="T92" fmla="*/ 2835 w 4014"/>
                  <a:gd name="T93" fmla="*/ 611 h 996"/>
                  <a:gd name="T94" fmla="*/ 2685 w 4014"/>
                  <a:gd name="T95" fmla="*/ 413 h 996"/>
                  <a:gd name="T96" fmla="*/ 3020 w 4014"/>
                  <a:gd name="T97" fmla="*/ 855 h 996"/>
                  <a:gd name="T98" fmla="*/ 3147 w 4014"/>
                  <a:gd name="T99" fmla="*/ 564 h 996"/>
                  <a:gd name="T100" fmla="*/ 3540 w 4014"/>
                  <a:gd name="T101" fmla="*/ 633 h 996"/>
                  <a:gd name="T102" fmla="*/ 3442 w 4014"/>
                  <a:gd name="T103" fmla="*/ 433 h 996"/>
                  <a:gd name="T104" fmla="*/ 3618 w 4014"/>
                  <a:gd name="T105" fmla="*/ 240 h 996"/>
                  <a:gd name="T106" fmla="*/ 3930 w 4014"/>
                  <a:gd name="T107" fmla="*/ 414 h 9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14" h="996">
                    <a:moveTo>
                      <a:pt x="3930" y="287"/>
                    </a:moveTo>
                    <a:cubicBezTo>
                      <a:pt x="3903" y="287"/>
                      <a:pt x="3880" y="300"/>
                      <a:pt x="3864" y="320"/>
                    </a:cubicBezTo>
                    <a:cubicBezTo>
                      <a:pt x="3735" y="231"/>
                      <a:pt x="3735" y="231"/>
                      <a:pt x="3735" y="231"/>
                    </a:cubicBezTo>
                    <a:cubicBezTo>
                      <a:pt x="3747" y="211"/>
                      <a:pt x="3753" y="188"/>
                      <a:pt x="3753" y="163"/>
                    </a:cubicBezTo>
                    <a:cubicBezTo>
                      <a:pt x="3753" y="88"/>
                      <a:pt x="3693" y="28"/>
                      <a:pt x="3618" y="28"/>
                    </a:cubicBezTo>
                    <a:cubicBezTo>
                      <a:pt x="3544" y="28"/>
                      <a:pt x="3483" y="88"/>
                      <a:pt x="3483" y="163"/>
                    </a:cubicBezTo>
                    <a:cubicBezTo>
                      <a:pt x="3483" y="207"/>
                      <a:pt x="3505" y="247"/>
                      <a:pt x="3538" y="272"/>
                    </a:cubicBezTo>
                    <a:cubicBezTo>
                      <a:pt x="3464" y="372"/>
                      <a:pt x="3464" y="372"/>
                      <a:pt x="3464" y="372"/>
                    </a:cubicBezTo>
                    <a:cubicBezTo>
                      <a:pt x="3458" y="368"/>
                      <a:pt x="3450" y="366"/>
                      <a:pt x="3442" y="366"/>
                    </a:cubicBezTo>
                    <a:cubicBezTo>
                      <a:pt x="3417" y="366"/>
                      <a:pt x="3397" y="386"/>
                      <a:pt x="3397" y="411"/>
                    </a:cubicBezTo>
                    <a:cubicBezTo>
                      <a:pt x="3397" y="412"/>
                      <a:pt x="3397" y="412"/>
                      <a:pt x="3397" y="413"/>
                    </a:cubicBezTo>
                    <a:cubicBezTo>
                      <a:pt x="3304" y="424"/>
                      <a:pt x="3304" y="424"/>
                      <a:pt x="3304" y="424"/>
                    </a:cubicBezTo>
                    <a:cubicBezTo>
                      <a:pt x="3284" y="357"/>
                      <a:pt x="3221" y="307"/>
                      <a:pt x="3147" y="307"/>
                    </a:cubicBezTo>
                    <a:cubicBezTo>
                      <a:pt x="3077" y="307"/>
                      <a:pt x="3017" y="351"/>
                      <a:pt x="2994" y="414"/>
                    </a:cubicBezTo>
                    <a:cubicBezTo>
                      <a:pt x="2836" y="365"/>
                      <a:pt x="2836" y="365"/>
                      <a:pt x="2836" y="365"/>
                    </a:cubicBezTo>
                    <a:cubicBezTo>
                      <a:pt x="2839" y="352"/>
                      <a:pt x="2841" y="338"/>
                      <a:pt x="2841" y="324"/>
                    </a:cubicBezTo>
                    <a:cubicBezTo>
                      <a:pt x="2841" y="263"/>
                      <a:pt x="2807" y="211"/>
                      <a:pt x="2757" y="185"/>
                    </a:cubicBezTo>
                    <a:cubicBezTo>
                      <a:pt x="2787" y="109"/>
                      <a:pt x="2787" y="109"/>
                      <a:pt x="2787" y="109"/>
                    </a:cubicBezTo>
                    <a:cubicBezTo>
                      <a:pt x="2790" y="109"/>
                      <a:pt x="2793" y="110"/>
                      <a:pt x="2796" y="110"/>
                    </a:cubicBezTo>
                    <a:cubicBezTo>
                      <a:pt x="2821" y="110"/>
                      <a:pt x="2841" y="89"/>
                      <a:pt x="2841" y="65"/>
                    </a:cubicBezTo>
                    <a:cubicBezTo>
                      <a:pt x="2841" y="40"/>
                      <a:pt x="2821" y="20"/>
                      <a:pt x="2796" y="20"/>
                    </a:cubicBezTo>
                    <a:cubicBezTo>
                      <a:pt x="2771" y="20"/>
                      <a:pt x="2751" y="40"/>
                      <a:pt x="2751" y="65"/>
                    </a:cubicBezTo>
                    <a:cubicBezTo>
                      <a:pt x="2751" y="81"/>
                      <a:pt x="2760" y="95"/>
                      <a:pt x="2772" y="103"/>
                    </a:cubicBezTo>
                    <a:cubicBezTo>
                      <a:pt x="2742" y="179"/>
                      <a:pt x="2742" y="179"/>
                      <a:pt x="2742" y="179"/>
                    </a:cubicBezTo>
                    <a:cubicBezTo>
                      <a:pt x="2724" y="172"/>
                      <a:pt x="2705" y="168"/>
                      <a:pt x="2685" y="168"/>
                    </a:cubicBezTo>
                    <a:cubicBezTo>
                      <a:pt x="2658" y="168"/>
                      <a:pt x="2632" y="175"/>
                      <a:pt x="2609" y="188"/>
                    </a:cubicBezTo>
                    <a:cubicBezTo>
                      <a:pt x="2575" y="151"/>
                      <a:pt x="2575" y="151"/>
                      <a:pt x="2575" y="151"/>
                    </a:cubicBezTo>
                    <a:cubicBezTo>
                      <a:pt x="2579" y="146"/>
                      <a:pt x="2581" y="140"/>
                      <a:pt x="2581" y="134"/>
                    </a:cubicBezTo>
                    <a:cubicBezTo>
                      <a:pt x="2581" y="118"/>
                      <a:pt x="2568" y="105"/>
                      <a:pt x="2552" y="105"/>
                    </a:cubicBezTo>
                    <a:cubicBezTo>
                      <a:pt x="2536" y="105"/>
                      <a:pt x="2523" y="118"/>
                      <a:pt x="2523" y="134"/>
                    </a:cubicBezTo>
                    <a:cubicBezTo>
                      <a:pt x="2523" y="150"/>
                      <a:pt x="2536" y="163"/>
                      <a:pt x="2552" y="163"/>
                    </a:cubicBezTo>
                    <a:cubicBezTo>
                      <a:pt x="2556" y="163"/>
                      <a:pt x="2559" y="162"/>
                      <a:pt x="2563" y="161"/>
                    </a:cubicBezTo>
                    <a:cubicBezTo>
                      <a:pt x="2595" y="196"/>
                      <a:pt x="2595" y="196"/>
                      <a:pt x="2595" y="196"/>
                    </a:cubicBezTo>
                    <a:cubicBezTo>
                      <a:pt x="2555" y="225"/>
                      <a:pt x="2529" y="271"/>
                      <a:pt x="2529" y="324"/>
                    </a:cubicBezTo>
                    <a:cubicBezTo>
                      <a:pt x="2529" y="354"/>
                      <a:pt x="2538" y="383"/>
                      <a:pt x="2553" y="407"/>
                    </a:cubicBezTo>
                    <a:cubicBezTo>
                      <a:pt x="2334" y="546"/>
                      <a:pt x="2334" y="546"/>
                      <a:pt x="2334" y="546"/>
                    </a:cubicBezTo>
                    <a:cubicBezTo>
                      <a:pt x="2290" y="407"/>
                      <a:pt x="2159" y="306"/>
                      <a:pt x="2005" y="306"/>
                    </a:cubicBezTo>
                    <a:cubicBezTo>
                      <a:pt x="1840" y="306"/>
                      <a:pt x="1702" y="422"/>
                      <a:pt x="1668" y="577"/>
                    </a:cubicBezTo>
                    <a:cubicBezTo>
                      <a:pt x="1429" y="537"/>
                      <a:pt x="1429" y="537"/>
                      <a:pt x="1429" y="537"/>
                    </a:cubicBezTo>
                    <a:cubicBezTo>
                      <a:pt x="1430" y="527"/>
                      <a:pt x="1431" y="518"/>
                      <a:pt x="1431" y="508"/>
                    </a:cubicBezTo>
                    <a:cubicBezTo>
                      <a:pt x="1431" y="442"/>
                      <a:pt x="1390" y="386"/>
                      <a:pt x="1331" y="365"/>
                    </a:cubicBezTo>
                    <a:cubicBezTo>
                      <a:pt x="1374" y="269"/>
                      <a:pt x="1374" y="269"/>
                      <a:pt x="1374" y="269"/>
                    </a:cubicBezTo>
                    <a:cubicBezTo>
                      <a:pt x="1375" y="270"/>
                      <a:pt x="1377" y="270"/>
                      <a:pt x="1378" y="270"/>
                    </a:cubicBezTo>
                    <a:cubicBezTo>
                      <a:pt x="1403" y="270"/>
                      <a:pt x="1423" y="249"/>
                      <a:pt x="1423" y="225"/>
                    </a:cubicBezTo>
                    <a:cubicBezTo>
                      <a:pt x="1423" y="200"/>
                      <a:pt x="1403" y="180"/>
                      <a:pt x="1378" y="180"/>
                    </a:cubicBezTo>
                    <a:cubicBezTo>
                      <a:pt x="1353" y="180"/>
                      <a:pt x="1333" y="200"/>
                      <a:pt x="1333" y="225"/>
                    </a:cubicBezTo>
                    <a:cubicBezTo>
                      <a:pt x="1333" y="242"/>
                      <a:pt x="1343" y="258"/>
                      <a:pt x="1358" y="265"/>
                    </a:cubicBezTo>
                    <a:cubicBezTo>
                      <a:pt x="1316" y="360"/>
                      <a:pt x="1316" y="360"/>
                      <a:pt x="1316" y="360"/>
                    </a:cubicBezTo>
                    <a:cubicBezTo>
                      <a:pt x="1304" y="358"/>
                      <a:pt x="1292" y="356"/>
                      <a:pt x="1279" y="356"/>
                    </a:cubicBezTo>
                    <a:cubicBezTo>
                      <a:pt x="1224" y="356"/>
                      <a:pt x="1176" y="385"/>
                      <a:pt x="1149" y="430"/>
                    </a:cubicBezTo>
                    <a:cubicBezTo>
                      <a:pt x="994" y="297"/>
                      <a:pt x="994" y="297"/>
                      <a:pt x="994" y="297"/>
                    </a:cubicBezTo>
                    <a:cubicBezTo>
                      <a:pt x="1006" y="280"/>
                      <a:pt x="1013" y="258"/>
                      <a:pt x="1013" y="235"/>
                    </a:cubicBezTo>
                    <a:cubicBezTo>
                      <a:pt x="1013" y="174"/>
                      <a:pt x="964" y="124"/>
                      <a:pt x="902" y="124"/>
                    </a:cubicBezTo>
                    <a:cubicBezTo>
                      <a:pt x="879" y="124"/>
                      <a:pt x="858" y="131"/>
                      <a:pt x="840" y="143"/>
                    </a:cubicBezTo>
                    <a:cubicBezTo>
                      <a:pt x="794" y="80"/>
                      <a:pt x="794" y="80"/>
                      <a:pt x="794" y="80"/>
                    </a:cubicBezTo>
                    <a:cubicBezTo>
                      <a:pt x="804" y="72"/>
                      <a:pt x="811" y="59"/>
                      <a:pt x="811" y="45"/>
                    </a:cubicBezTo>
                    <a:cubicBezTo>
                      <a:pt x="811" y="20"/>
                      <a:pt x="791" y="0"/>
                      <a:pt x="766" y="0"/>
                    </a:cubicBezTo>
                    <a:cubicBezTo>
                      <a:pt x="741" y="0"/>
                      <a:pt x="721" y="20"/>
                      <a:pt x="721" y="45"/>
                    </a:cubicBezTo>
                    <a:cubicBezTo>
                      <a:pt x="721" y="69"/>
                      <a:pt x="741" y="90"/>
                      <a:pt x="766" y="90"/>
                    </a:cubicBezTo>
                    <a:cubicBezTo>
                      <a:pt x="771" y="90"/>
                      <a:pt x="775" y="89"/>
                      <a:pt x="780" y="87"/>
                    </a:cubicBezTo>
                    <a:cubicBezTo>
                      <a:pt x="827" y="153"/>
                      <a:pt x="827" y="153"/>
                      <a:pt x="827" y="153"/>
                    </a:cubicBezTo>
                    <a:cubicBezTo>
                      <a:pt x="805" y="173"/>
                      <a:pt x="791" y="203"/>
                      <a:pt x="791" y="235"/>
                    </a:cubicBezTo>
                    <a:cubicBezTo>
                      <a:pt x="791" y="256"/>
                      <a:pt x="797" y="276"/>
                      <a:pt x="808" y="293"/>
                    </a:cubicBezTo>
                    <a:cubicBezTo>
                      <a:pt x="741" y="357"/>
                      <a:pt x="741" y="357"/>
                      <a:pt x="741" y="357"/>
                    </a:cubicBezTo>
                    <a:cubicBezTo>
                      <a:pt x="732" y="349"/>
                      <a:pt x="719" y="344"/>
                      <a:pt x="706" y="344"/>
                    </a:cubicBezTo>
                    <a:cubicBezTo>
                      <a:pt x="686" y="344"/>
                      <a:pt x="669" y="355"/>
                      <a:pt x="660" y="371"/>
                    </a:cubicBezTo>
                    <a:cubicBezTo>
                      <a:pt x="564" y="325"/>
                      <a:pt x="564" y="325"/>
                      <a:pt x="564" y="325"/>
                    </a:cubicBezTo>
                    <a:cubicBezTo>
                      <a:pt x="567" y="312"/>
                      <a:pt x="569" y="298"/>
                      <a:pt x="569" y="285"/>
                    </a:cubicBezTo>
                    <a:cubicBezTo>
                      <a:pt x="569" y="188"/>
                      <a:pt x="488" y="109"/>
                      <a:pt x="388" y="109"/>
                    </a:cubicBezTo>
                    <a:cubicBezTo>
                      <a:pt x="320" y="109"/>
                      <a:pt x="261" y="146"/>
                      <a:pt x="231" y="199"/>
                    </a:cubicBezTo>
                    <a:cubicBezTo>
                      <a:pt x="162" y="155"/>
                      <a:pt x="162" y="155"/>
                      <a:pt x="162" y="155"/>
                    </a:cubicBezTo>
                    <a:cubicBezTo>
                      <a:pt x="166" y="145"/>
                      <a:pt x="168" y="135"/>
                      <a:pt x="168" y="123"/>
                    </a:cubicBezTo>
                    <a:cubicBezTo>
                      <a:pt x="168" y="77"/>
                      <a:pt x="131" y="39"/>
                      <a:pt x="84" y="39"/>
                    </a:cubicBezTo>
                    <a:cubicBezTo>
                      <a:pt x="38" y="39"/>
                      <a:pt x="0" y="77"/>
                      <a:pt x="0" y="123"/>
                    </a:cubicBezTo>
                    <a:cubicBezTo>
                      <a:pt x="0" y="170"/>
                      <a:pt x="38" y="207"/>
                      <a:pt x="84" y="207"/>
                    </a:cubicBezTo>
                    <a:cubicBezTo>
                      <a:pt x="114" y="207"/>
                      <a:pt x="139" y="192"/>
                      <a:pt x="154" y="170"/>
                    </a:cubicBezTo>
                    <a:cubicBezTo>
                      <a:pt x="223" y="214"/>
                      <a:pt x="223" y="214"/>
                      <a:pt x="223" y="214"/>
                    </a:cubicBezTo>
                    <a:cubicBezTo>
                      <a:pt x="213" y="235"/>
                      <a:pt x="208" y="259"/>
                      <a:pt x="208" y="285"/>
                    </a:cubicBezTo>
                    <a:cubicBezTo>
                      <a:pt x="208" y="344"/>
                      <a:pt x="239" y="397"/>
                      <a:pt x="286" y="429"/>
                    </a:cubicBezTo>
                    <a:cubicBezTo>
                      <a:pt x="230" y="516"/>
                      <a:pt x="230" y="516"/>
                      <a:pt x="230" y="516"/>
                    </a:cubicBezTo>
                    <a:cubicBezTo>
                      <a:pt x="225" y="514"/>
                      <a:pt x="220" y="514"/>
                      <a:pt x="214" y="514"/>
                    </a:cubicBezTo>
                    <a:cubicBezTo>
                      <a:pt x="185" y="514"/>
                      <a:pt x="161" y="537"/>
                      <a:pt x="161" y="567"/>
                    </a:cubicBezTo>
                    <a:cubicBezTo>
                      <a:pt x="161" y="596"/>
                      <a:pt x="185" y="620"/>
                      <a:pt x="214" y="620"/>
                    </a:cubicBezTo>
                    <a:cubicBezTo>
                      <a:pt x="243" y="620"/>
                      <a:pt x="267" y="596"/>
                      <a:pt x="267" y="567"/>
                    </a:cubicBezTo>
                    <a:cubicBezTo>
                      <a:pt x="267" y="549"/>
                      <a:pt x="258" y="533"/>
                      <a:pt x="244" y="523"/>
                    </a:cubicBezTo>
                    <a:cubicBezTo>
                      <a:pt x="300" y="437"/>
                      <a:pt x="300" y="437"/>
                      <a:pt x="300" y="437"/>
                    </a:cubicBezTo>
                    <a:cubicBezTo>
                      <a:pt x="326" y="452"/>
                      <a:pt x="356" y="460"/>
                      <a:pt x="388" y="460"/>
                    </a:cubicBezTo>
                    <a:cubicBezTo>
                      <a:pt x="468" y="460"/>
                      <a:pt x="535" y="410"/>
                      <a:pt x="559" y="340"/>
                    </a:cubicBezTo>
                    <a:cubicBezTo>
                      <a:pt x="654" y="386"/>
                      <a:pt x="654" y="386"/>
                      <a:pt x="654" y="386"/>
                    </a:cubicBezTo>
                    <a:cubicBezTo>
                      <a:pt x="653" y="389"/>
                      <a:pt x="653" y="393"/>
                      <a:pt x="653" y="397"/>
                    </a:cubicBezTo>
                    <a:cubicBezTo>
                      <a:pt x="653" y="426"/>
                      <a:pt x="677" y="450"/>
                      <a:pt x="706" y="450"/>
                    </a:cubicBezTo>
                    <a:cubicBezTo>
                      <a:pt x="735" y="450"/>
                      <a:pt x="759" y="426"/>
                      <a:pt x="759" y="397"/>
                    </a:cubicBezTo>
                    <a:cubicBezTo>
                      <a:pt x="759" y="387"/>
                      <a:pt x="756" y="377"/>
                      <a:pt x="751" y="369"/>
                    </a:cubicBezTo>
                    <a:cubicBezTo>
                      <a:pt x="817" y="306"/>
                      <a:pt x="817" y="306"/>
                      <a:pt x="817" y="306"/>
                    </a:cubicBezTo>
                    <a:cubicBezTo>
                      <a:pt x="838" y="331"/>
                      <a:pt x="868" y="346"/>
                      <a:pt x="902" y="346"/>
                    </a:cubicBezTo>
                    <a:cubicBezTo>
                      <a:pt x="935" y="346"/>
                      <a:pt x="964" y="332"/>
                      <a:pt x="984" y="310"/>
                    </a:cubicBezTo>
                    <a:cubicBezTo>
                      <a:pt x="1141" y="444"/>
                      <a:pt x="1141" y="444"/>
                      <a:pt x="1141" y="444"/>
                    </a:cubicBezTo>
                    <a:cubicBezTo>
                      <a:pt x="1132" y="463"/>
                      <a:pt x="1127" y="485"/>
                      <a:pt x="1127" y="508"/>
                    </a:cubicBezTo>
                    <a:cubicBezTo>
                      <a:pt x="1127" y="520"/>
                      <a:pt x="1129" y="532"/>
                      <a:pt x="1132" y="544"/>
                    </a:cubicBezTo>
                    <a:cubicBezTo>
                      <a:pt x="1068" y="567"/>
                      <a:pt x="1068" y="567"/>
                      <a:pt x="1068" y="567"/>
                    </a:cubicBezTo>
                    <a:cubicBezTo>
                      <a:pt x="1060" y="553"/>
                      <a:pt x="1045" y="544"/>
                      <a:pt x="1028" y="544"/>
                    </a:cubicBezTo>
                    <a:cubicBezTo>
                      <a:pt x="1003" y="544"/>
                      <a:pt x="983" y="564"/>
                      <a:pt x="983" y="589"/>
                    </a:cubicBezTo>
                    <a:cubicBezTo>
                      <a:pt x="983" y="613"/>
                      <a:pt x="1003" y="634"/>
                      <a:pt x="1028" y="634"/>
                    </a:cubicBezTo>
                    <a:cubicBezTo>
                      <a:pt x="1053" y="634"/>
                      <a:pt x="1073" y="613"/>
                      <a:pt x="1073" y="589"/>
                    </a:cubicBezTo>
                    <a:cubicBezTo>
                      <a:pt x="1073" y="587"/>
                      <a:pt x="1073" y="585"/>
                      <a:pt x="1073" y="583"/>
                    </a:cubicBezTo>
                    <a:cubicBezTo>
                      <a:pt x="1136" y="559"/>
                      <a:pt x="1136" y="559"/>
                      <a:pt x="1136" y="559"/>
                    </a:cubicBezTo>
                    <a:cubicBezTo>
                      <a:pt x="1157" y="618"/>
                      <a:pt x="1213" y="660"/>
                      <a:pt x="1279" y="660"/>
                    </a:cubicBezTo>
                    <a:cubicBezTo>
                      <a:pt x="1300" y="660"/>
                      <a:pt x="1320" y="656"/>
                      <a:pt x="1339" y="648"/>
                    </a:cubicBezTo>
                    <a:cubicBezTo>
                      <a:pt x="1356" y="677"/>
                      <a:pt x="1356" y="677"/>
                      <a:pt x="1356" y="677"/>
                    </a:cubicBezTo>
                    <a:cubicBezTo>
                      <a:pt x="1347" y="685"/>
                      <a:pt x="1341" y="697"/>
                      <a:pt x="1341" y="711"/>
                    </a:cubicBezTo>
                    <a:cubicBezTo>
                      <a:pt x="1341" y="735"/>
                      <a:pt x="1361" y="756"/>
                      <a:pt x="1386" y="756"/>
                    </a:cubicBezTo>
                    <a:cubicBezTo>
                      <a:pt x="1411" y="756"/>
                      <a:pt x="1431" y="735"/>
                      <a:pt x="1431" y="711"/>
                    </a:cubicBezTo>
                    <a:cubicBezTo>
                      <a:pt x="1431" y="686"/>
                      <a:pt x="1411" y="666"/>
                      <a:pt x="1386" y="666"/>
                    </a:cubicBezTo>
                    <a:cubicBezTo>
                      <a:pt x="1380" y="666"/>
                      <a:pt x="1375" y="667"/>
                      <a:pt x="1370" y="669"/>
                    </a:cubicBezTo>
                    <a:cubicBezTo>
                      <a:pt x="1353" y="641"/>
                      <a:pt x="1353" y="641"/>
                      <a:pt x="1353" y="641"/>
                    </a:cubicBezTo>
                    <a:cubicBezTo>
                      <a:pt x="1387" y="622"/>
                      <a:pt x="1413" y="590"/>
                      <a:pt x="1425" y="552"/>
                    </a:cubicBezTo>
                    <a:cubicBezTo>
                      <a:pt x="1665" y="592"/>
                      <a:pt x="1665" y="592"/>
                      <a:pt x="1665" y="592"/>
                    </a:cubicBezTo>
                    <a:cubicBezTo>
                      <a:pt x="1662" y="611"/>
                      <a:pt x="1660" y="631"/>
                      <a:pt x="1660" y="651"/>
                    </a:cubicBezTo>
                    <a:cubicBezTo>
                      <a:pt x="1660" y="841"/>
                      <a:pt x="1814" y="996"/>
                      <a:pt x="2005" y="996"/>
                    </a:cubicBezTo>
                    <a:cubicBezTo>
                      <a:pt x="2196" y="996"/>
                      <a:pt x="2350" y="841"/>
                      <a:pt x="2350" y="651"/>
                    </a:cubicBezTo>
                    <a:cubicBezTo>
                      <a:pt x="2350" y="620"/>
                      <a:pt x="2346" y="591"/>
                      <a:pt x="2338" y="562"/>
                    </a:cubicBezTo>
                    <a:cubicBezTo>
                      <a:pt x="2562" y="420"/>
                      <a:pt x="2562" y="420"/>
                      <a:pt x="2562" y="420"/>
                    </a:cubicBezTo>
                    <a:cubicBezTo>
                      <a:pt x="2591" y="456"/>
                      <a:pt x="2635" y="480"/>
                      <a:pt x="2685" y="480"/>
                    </a:cubicBezTo>
                    <a:cubicBezTo>
                      <a:pt x="2700" y="480"/>
                      <a:pt x="2715" y="478"/>
                      <a:pt x="2728" y="474"/>
                    </a:cubicBezTo>
                    <a:cubicBezTo>
                      <a:pt x="2757" y="535"/>
                      <a:pt x="2757" y="535"/>
                      <a:pt x="2757" y="535"/>
                    </a:cubicBezTo>
                    <a:cubicBezTo>
                      <a:pt x="2728" y="548"/>
                      <a:pt x="2708" y="577"/>
                      <a:pt x="2708" y="611"/>
                    </a:cubicBezTo>
                    <a:cubicBezTo>
                      <a:pt x="2708" y="658"/>
                      <a:pt x="2746" y="695"/>
                      <a:pt x="2792" y="695"/>
                    </a:cubicBezTo>
                    <a:cubicBezTo>
                      <a:pt x="2839" y="695"/>
                      <a:pt x="2876" y="658"/>
                      <a:pt x="2876" y="611"/>
                    </a:cubicBezTo>
                    <a:cubicBezTo>
                      <a:pt x="2876" y="565"/>
                      <a:pt x="2839" y="527"/>
                      <a:pt x="2792" y="527"/>
                    </a:cubicBezTo>
                    <a:cubicBezTo>
                      <a:pt x="2786" y="527"/>
                      <a:pt x="2779" y="528"/>
                      <a:pt x="2773" y="530"/>
                    </a:cubicBezTo>
                    <a:cubicBezTo>
                      <a:pt x="2743" y="469"/>
                      <a:pt x="2743" y="469"/>
                      <a:pt x="2743" y="469"/>
                    </a:cubicBezTo>
                    <a:cubicBezTo>
                      <a:pt x="2783" y="453"/>
                      <a:pt x="2815" y="420"/>
                      <a:pt x="2831" y="380"/>
                    </a:cubicBezTo>
                    <a:cubicBezTo>
                      <a:pt x="2989" y="429"/>
                      <a:pt x="2989" y="429"/>
                      <a:pt x="2989" y="429"/>
                    </a:cubicBezTo>
                    <a:cubicBezTo>
                      <a:pt x="2986" y="442"/>
                      <a:pt x="2984" y="456"/>
                      <a:pt x="2984" y="471"/>
                    </a:cubicBezTo>
                    <a:cubicBezTo>
                      <a:pt x="2984" y="539"/>
                      <a:pt x="3026" y="597"/>
                      <a:pt x="3085" y="622"/>
                    </a:cubicBezTo>
                    <a:cubicBezTo>
                      <a:pt x="3029" y="789"/>
                      <a:pt x="3029" y="789"/>
                      <a:pt x="3029" y="789"/>
                    </a:cubicBezTo>
                    <a:cubicBezTo>
                      <a:pt x="3026" y="788"/>
                      <a:pt x="3023" y="788"/>
                      <a:pt x="3020" y="788"/>
                    </a:cubicBezTo>
                    <a:cubicBezTo>
                      <a:pt x="2995" y="788"/>
                      <a:pt x="2975" y="808"/>
                      <a:pt x="2975" y="833"/>
                    </a:cubicBezTo>
                    <a:cubicBezTo>
                      <a:pt x="2975" y="857"/>
                      <a:pt x="2995" y="878"/>
                      <a:pt x="3020" y="878"/>
                    </a:cubicBezTo>
                    <a:cubicBezTo>
                      <a:pt x="3045" y="878"/>
                      <a:pt x="3065" y="857"/>
                      <a:pt x="3065" y="833"/>
                    </a:cubicBezTo>
                    <a:cubicBezTo>
                      <a:pt x="3065" y="817"/>
                      <a:pt x="3057" y="803"/>
                      <a:pt x="3044" y="795"/>
                    </a:cubicBezTo>
                    <a:cubicBezTo>
                      <a:pt x="3100" y="627"/>
                      <a:pt x="3100" y="627"/>
                      <a:pt x="3100" y="627"/>
                    </a:cubicBezTo>
                    <a:cubicBezTo>
                      <a:pt x="3115" y="631"/>
                      <a:pt x="3131" y="634"/>
                      <a:pt x="3147" y="634"/>
                    </a:cubicBezTo>
                    <a:cubicBezTo>
                      <a:pt x="3198" y="634"/>
                      <a:pt x="3243" y="611"/>
                      <a:pt x="3273" y="575"/>
                    </a:cubicBezTo>
                    <a:cubicBezTo>
                      <a:pt x="3459" y="656"/>
                      <a:pt x="3459" y="656"/>
                      <a:pt x="3459" y="656"/>
                    </a:cubicBezTo>
                    <a:cubicBezTo>
                      <a:pt x="3457" y="662"/>
                      <a:pt x="3456" y="669"/>
                      <a:pt x="3456" y="675"/>
                    </a:cubicBezTo>
                    <a:cubicBezTo>
                      <a:pt x="3456" y="722"/>
                      <a:pt x="3494" y="759"/>
                      <a:pt x="3540" y="759"/>
                    </a:cubicBezTo>
                    <a:cubicBezTo>
                      <a:pt x="3587" y="759"/>
                      <a:pt x="3624" y="722"/>
                      <a:pt x="3624" y="675"/>
                    </a:cubicBezTo>
                    <a:cubicBezTo>
                      <a:pt x="3624" y="629"/>
                      <a:pt x="3587" y="591"/>
                      <a:pt x="3540" y="591"/>
                    </a:cubicBezTo>
                    <a:cubicBezTo>
                      <a:pt x="3506" y="591"/>
                      <a:pt x="3477" y="612"/>
                      <a:pt x="3464" y="641"/>
                    </a:cubicBezTo>
                    <a:cubicBezTo>
                      <a:pt x="3283" y="562"/>
                      <a:pt x="3283" y="562"/>
                      <a:pt x="3283" y="562"/>
                    </a:cubicBezTo>
                    <a:cubicBezTo>
                      <a:pt x="3300" y="536"/>
                      <a:pt x="3311" y="504"/>
                      <a:pt x="3311" y="471"/>
                    </a:cubicBezTo>
                    <a:cubicBezTo>
                      <a:pt x="3311" y="460"/>
                      <a:pt x="3310" y="450"/>
                      <a:pt x="3308" y="440"/>
                    </a:cubicBezTo>
                    <a:cubicBezTo>
                      <a:pt x="3401" y="429"/>
                      <a:pt x="3401" y="429"/>
                      <a:pt x="3401" y="429"/>
                    </a:cubicBezTo>
                    <a:cubicBezTo>
                      <a:pt x="3408" y="445"/>
                      <a:pt x="3424" y="456"/>
                      <a:pt x="3442" y="456"/>
                    </a:cubicBezTo>
                    <a:cubicBezTo>
                      <a:pt x="3467" y="456"/>
                      <a:pt x="3487" y="435"/>
                      <a:pt x="3487" y="411"/>
                    </a:cubicBezTo>
                    <a:cubicBezTo>
                      <a:pt x="3487" y="400"/>
                      <a:pt x="3483" y="390"/>
                      <a:pt x="3477" y="382"/>
                    </a:cubicBezTo>
                    <a:cubicBezTo>
                      <a:pt x="3551" y="280"/>
                      <a:pt x="3551" y="280"/>
                      <a:pt x="3551" y="280"/>
                    </a:cubicBezTo>
                    <a:cubicBezTo>
                      <a:pt x="3571" y="291"/>
                      <a:pt x="3594" y="298"/>
                      <a:pt x="3618" y="298"/>
                    </a:cubicBezTo>
                    <a:cubicBezTo>
                      <a:pt x="3662" y="298"/>
                      <a:pt x="3702" y="277"/>
                      <a:pt x="3726" y="244"/>
                    </a:cubicBezTo>
                    <a:cubicBezTo>
                      <a:pt x="3856" y="333"/>
                      <a:pt x="3856" y="333"/>
                      <a:pt x="3856" y="333"/>
                    </a:cubicBezTo>
                    <a:cubicBezTo>
                      <a:pt x="3850" y="344"/>
                      <a:pt x="3846" y="357"/>
                      <a:pt x="3846" y="371"/>
                    </a:cubicBezTo>
                    <a:cubicBezTo>
                      <a:pt x="3846" y="418"/>
                      <a:pt x="3884" y="455"/>
                      <a:pt x="3930" y="455"/>
                    </a:cubicBezTo>
                    <a:cubicBezTo>
                      <a:pt x="3977" y="455"/>
                      <a:pt x="4014" y="418"/>
                      <a:pt x="4014" y="371"/>
                    </a:cubicBezTo>
                    <a:cubicBezTo>
                      <a:pt x="4014" y="325"/>
                      <a:pt x="3977" y="287"/>
                      <a:pt x="3930" y="287"/>
                    </a:cubicBezTo>
                    <a:close/>
                    <a:moveTo>
                      <a:pt x="2796" y="42"/>
                    </a:moveTo>
                    <a:cubicBezTo>
                      <a:pt x="2808" y="42"/>
                      <a:pt x="2818" y="52"/>
                      <a:pt x="2818" y="65"/>
                    </a:cubicBezTo>
                    <a:cubicBezTo>
                      <a:pt x="2818" y="77"/>
                      <a:pt x="2808" y="87"/>
                      <a:pt x="2796" y="87"/>
                    </a:cubicBezTo>
                    <a:cubicBezTo>
                      <a:pt x="2784" y="87"/>
                      <a:pt x="2774" y="77"/>
                      <a:pt x="2774" y="65"/>
                    </a:cubicBezTo>
                    <a:cubicBezTo>
                      <a:pt x="2774" y="52"/>
                      <a:pt x="2784" y="42"/>
                      <a:pt x="2796" y="42"/>
                    </a:cubicBezTo>
                    <a:close/>
                    <a:moveTo>
                      <a:pt x="2536" y="134"/>
                    </a:moveTo>
                    <a:cubicBezTo>
                      <a:pt x="2536" y="125"/>
                      <a:pt x="2543" y="118"/>
                      <a:pt x="2552" y="118"/>
                    </a:cubicBezTo>
                    <a:cubicBezTo>
                      <a:pt x="2561" y="118"/>
                      <a:pt x="2569" y="125"/>
                      <a:pt x="2569" y="134"/>
                    </a:cubicBezTo>
                    <a:cubicBezTo>
                      <a:pt x="2569" y="143"/>
                      <a:pt x="2561" y="150"/>
                      <a:pt x="2552" y="150"/>
                    </a:cubicBezTo>
                    <a:cubicBezTo>
                      <a:pt x="2543" y="150"/>
                      <a:pt x="2536" y="143"/>
                      <a:pt x="2536" y="134"/>
                    </a:cubicBezTo>
                    <a:close/>
                    <a:moveTo>
                      <a:pt x="1378" y="202"/>
                    </a:moveTo>
                    <a:cubicBezTo>
                      <a:pt x="1390" y="202"/>
                      <a:pt x="1400" y="212"/>
                      <a:pt x="1400" y="225"/>
                    </a:cubicBezTo>
                    <a:cubicBezTo>
                      <a:pt x="1400" y="237"/>
                      <a:pt x="1390" y="247"/>
                      <a:pt x="1378" y="247"/>
                    </a:cubicBezTo>
                    <a:cubicBezTo>
                      <a:pt x="1366" y="247"/>
                      <a:pt x="1356" y="237"/>
                      <a:pt x="1356" y="225"/>
                    </a:cubicBezTo>
                    <a:cubicBezTo>
                      <a:pt x="1356" y="212"/>
                      <a:pt x="1366" y="202"/>
                      <a:pt x="1378" y="202"/>
                    </a:cubicBezTo>
                    <a:close/>
                    <a:moveTo>
                      <a:pt x="744" y="45"/>
                    </a:moveTo>
                    <a:cubicBezTo>
                      <a:pt x="744" y="32"/>
                      <a:pt x="754" y="22"/>
                      <a:pt x="766" y="22"/>
                    </a:cubicBezTo>
                    <a:cubicBezTo>
                      <a:pt x="778" y="22"/>
                      <a:pt x="788" y="32"/>
                      <a:pt x="788" y="45"/>
                    </a:cubicBezTo>
                    <a:cubicBezTo>
                      <a:pt x="788" y="57"/>
                      <a:pt x="778" y="67"/>
                      <a:pt x="766" y="67"/>
                    </a:cubicBezTo>
                    <a:cubicBezTo>
                      <a:pt x="754" y="67"/>
                      <a:pt x="744" y="57"/>
                      <a:pt x="744" y="45"/>
                    </a:cubicBezTo>
                    <a:close/>
                    <a:moveTo>
                      <a:pt x="84" y="166"/>
                    </a:moveTo>
                    <a:cubicBezTo>
                      <a:pt x="61" y="166"/>
                      <a:pt x="42" y="147"/>
                      <a:pt x="42" y="123"/>
                    </a:cubicBezTo>
                    <a:cubicBezTo>
                      <a:pt x="42" y="100"/>
                      <a:pt x="61" y="81"/>
                      <a:pt x="84" y="81"/>
                    </a:cubicBezTo>
                    <a:cubicBezTo>
                      <a:pt x="108" y="81"/>
                      <a:pt x="127" y="100"/>
                      <a:pt x="127" y="123"/>
                    </a:cubicBezTo>
                    <a:cubicBezTo>
                      <a:pt x="127" y="147"/>
                      <a:pt x="108" y="166"/>
                      <a:pt x="84" y="166"/>
                    </a:cubicBezTo>
                    <a:close/>
                    <a:moveTo>
                      <a:pt x="214" y="593"/>
                    </a:moveTo>
                    <a:cubicBezTo>
                      <a:pt x="199" y="593"/>
                      <a:pt x="188" y="581"/>
                      <a:pt x="188" y="567"/>
                    </a:cubicBezTo>
                    <a:cubicBezTo>
                      <a:pt x="188" y="552"/>
                      <a:pt x="199" y="540"/>
                      <a:pt x="214" y="540"/>
                    </a:cubicBezTo>
                    <a:cubicBezTo>
                      <a:pt x="229" y="540"/>
                      <a:pt x="240" y="552"/>
                      <a:pt x="240" y="567"/>
                    </a:cubicBezTo>
                    <a:cubicBezTo>
                      <a:pt x="240" y="581"/>
                      <a:pt x="229" y="593"/>
                      <a:pt x="214" y="593"/>
                    </a:cubicBezTo>
                    <a:close/>
                    <a:moveTo>
                      <a:pt x="388" y="385"/>
                    </a:moveTo>
                    <a:cubicBezTo>
                      <a:pt x="330" y="385"/>
                      <a:pt x="282" y="339"/>
                      <a:pt x="282" y="282"/>
                    </a:cubicBezTo>
                    <a:cubicBezTo>
                      <a:pt x="282" y="225"/>
                      <a:pt x="330" y="179"/>
                      <a:pt x="388" y="179"/>
                    </a:cubicBezTo>
                    <a:cubicBezTo>
                      <a:pt x="447" y="179"/>
                      <a:pt x="494" y="225"/>
                      <a:pt x="494" y="282"/>
                    </a:cubicBezTo>
                    <a:cubicBezTo>
                      <a:pt x="494" y="339"/>
                      <a:pt x="447" y="385"/>
                      <a:pt x="388" y="385"/>
                    </a:cubicBezTo>
                    <a:close/>
                    <a:moveTo>
                      <a:pt x="706" y="423"/>
                    </a:moveTo>
                    <a:cubicBezTo>
                      <a:pt x="691" y="423"/>
                      <a:pt x="680" y="411"/>
                      <a:pt x="680" y="397"/>
                    </a:cubicBezTo>
                    <a:cubicBezTo>
                      <a:pt x="680" y="382"/>
                      <a:pt x="691" y="370"/>
                      <a:pt x="706" y="370"/>
                    </a:cubicBezTo>
                    <a:cubicBezTo>
                      <a:pt x="721" y="370"/>
                      <a:pt x="732" y="382"/>
                      <a:pt x="732" y="397"/>
                    </a:cubicBezTo>
                    <a:cubicBezTo>
                      <a:pt x="732" y="411"/>
                      <a:pt x="721" y="423"/>
                      <a:pt x="706" y="423"/>
                    </a:cubicBezTo>
                    <a:close/>
                    <a:moveTo>
                      <a:pt x="902" y="298"/>
                    </a:moveTo>
                    <a:cubicBezTo>
                      <a:pt x="866" y="298"/>
                      <a:pt x="837" y="269"/>
                      <a:pt x="837" y="233"/>
                    </a:cubicBezTo>
                    <a:cubicBezTo>
                      <a:pt x="837" y="197"/>
                      <a:pt x="866" y="168"/>
                      <a:pt x="902" y="168"/>
                    </a:cubicBezTo>
                    <a:cubicBezTo>
                      <a:pt x="938" y="168"/>
                      <a:pt x="967" y="197"/>
                      <a:pt x="967" y="233"/>
                    </a:cubicBezTo>
                    <a:cubicBezTo>
                      <a:pt x="967" y="269"/>
                      <a:pt x="938" y="298"/>
                      <a:pt x="902" y="298"/>
                    </a:cubicBezTo>
                    <a:close/>
                    <a:moveTo>
                      <a:pt x="1028" y="611"/>
                    </a:moveTo>
                    <a:cubicBezTo>
                      <a:pt x="1016" y="611"/>
                      <a:pt x="1006" y="601"/>
                      <a:pt x="1006" y="589"/>
                    </a:cubicBezTo>
                    <a:cubicBezTo>
                      <a:pt x="1006" y="576"/>
                      <a:pt x="1016" y="566"/>
                      <a:pt x="1028" y="566"/>
                    </a:cubicBezTo>
                    <a:cubicBezTo>
                      <a:pt x="1040" y="566"/>
                      <a:pt x="1050" y="576"/>
                      <a:pt x="1050" y="589"/>
                    </a:cubicBezTo>
                    <a:cubicBezTo>
                      <a:pt x="1050" y="601"/>
                      <a:pt x="1040" y="611"/>
                      <a:pt x="1028" y="611"/>
                    </a:cubicBezTo>
                    <a:close/>
                    <a:moveTo>
                      <a:pt x="1408" y="711"/>
                    </a:moveTo>
                    <a:cubicBezTo>
                      <a:pt x="1408" y="723"/>
                      <a:pt x="1398" y="733"/>
                      <a:pt x="1386" y="733"/>
                    </a:cubicBezTo>
                    <a:cubicBezTo>
                      <a:pt x="1374" y="733"/>
                      <a:pt x="1364" y="723"/>
                      <a:pt x="1364" y="711"/>
                    </a:cubicBezTo>
                    <a:cubicBezTo>
                      <a:pt x="1364" y="698"/>
                      <a:pt x="1374" y="688"/>
                      <a:pt x="1386" y="688"/>
                    </a:cubicBezTo>
                    <a:cubicBezTo>
                      <a:pt x="1398" y="688"/>
                      <a:pt x="1408" y="698"/>
                      <a:pt x="1408" y="711"/>
                    </a:cubicBezTo>
                    <a:close/>
                    <a:moveTo>
                      <a:pt x="1279" y="595"/>
                    </a:moveTo>
                    <a:cubicBezTo>
                      <a:pt x="1230" y="595"/>
                      <a:pt x="1190" y="555"/>
                      <a:pt x="1190" y="506"/>
                    </a:cubicBezTo>
                    <a:cubicBezTo>
                      <a:pt x="1190" y="456"/>
                      <a:pt x="1230" y="416"/>
                      <a:pt x="1279" y="416"/>
                    </a:cubicBezTo>
                    <a:cubicBezTo>
                      <a:pt x="1328" y="416"/>
                      <a:pt x="1368" y="456"/>
                      <a:pt x="1368" y="506"/>
                    </a:cubicBezTo>
                    <a:cubicBezTo>
                      <a:pt x="1368" y="555"/>
                      <a:pt x="1328" y="595"/>
                      <a:pt x="1279" y="595"/>
                    </a:cubicBezTo>
                    <a:close/>
                    <a:moveTo>
                      <a:pt x="2005" y="866"/>
                    </a:moveTo>
                    <a:cubicBezTo>
                      <a:pt x="1885" y="866"/>
                      <a:pt x="1788" y="769"/>
                      <a:pt x="1788" y="649"/>
                    </a:cubicBezTo>
                    <a:cubicBezTo>
                      <a:pt x="1788" y="529"/>
                      <a:pt x="1885" y="432"/>
                      <a:pt x="2005" y="432"/>
                    </a:cubicBezTo>
                    <a:cubicBezTo>
                      <a:pt x="2125" y="432"/>
                      <a:pt x="2222" y="529"/>
                      <a:pt x="2222" y="649"/>
                    </a:cubicBezTo>
                    <a:cubicBezTo>
                      <a:pt x="2222" y="769"/>
                      <a:pt x="2125" y="866"/>
                      <a:pt x="2005" y="866"/>
                    </a:cubicBezTo>
                    <a:close/>
                    <a:moveTo>
                      <a:pt x="2835" y="611"/>
                    </a:moveTo>
                    <a:cubicBezTo>
                      <a:pt x="2835" y="635"/>
                      <a:pt x="2816" y="654"/>
                      <a:pt x="2792" y="654"/>
                    </a:cubicBezTo>
                    <a:cubicBezTo>
                      <a:pt x="2769" y="654"/>
                      <a:pt x="2750" y="635"/>
                      <a:pt x="2750" y="611"/>
                    </a:cubicBezTo>
                    <a:cubicBezTo>
                      <a:pt x="2750" y="588"/>
                      <a:pt x="2769" y="569"/>
                      <a:pt x="2792" y="569"/>
                    </a:cubicBezTo>
                    <a:cubicBezTo>
                      <a:pt x="2816" y="569"/>
                      <a:pt x="2835" y="588"/>
                      <a:pt x="2835" y="611"/>
                    </a:cubicBezTo>
                    <a:close/>
                    <a:moveTo>
                      <a:pt x="2685" y="413"/>
                    </a:moveTo>
                    <a:cubicBezTo>
                      <a:pt x="2635" y="413"/>
                      <a:pt x="2594" y="372"/>
                      <a:pt x="2594" y="321"/>
                    </a:cubicBezTo>
                    <a:cubicBezTo>
                      <a:pt x="2594" y="271"/>
                      <a:pt x="2635" y="230"/>
                      <a:pt x="2685" y="230"/>
                    </a:cubicBezTo>
                    <a:cubicBezTo>
                      <a:pt x="2736" y="230"/>
                      <a:pt x="2777" y="271"/>
                      <a:pt x="2777" y="321"/>
                    </a:cubicBezTo>
                    <a:cubicBezTo>
                      <a:pt x="2777" y="372"/>
                      <a:pt x="2736" y="413"/>
                      <a:pt x="2685" y="413"/>
                    </a:cubicBezTo>
                    <a:close/>
                    <a:moveTo>
                      <a:pt x="3020" y="855"/>
                    </a:moveTo>
                    <a:cubicBezTo>
                      <a:pt x="3008" y="855"/>
                      <a:pt x="2998" y="845"/>
                      <a:pt x="2998" y="833"/>
                    </a:cubicBezTo>
                    <a:cubicBezTo>
                      <a:pt x="2998" y="820"/>
                      <a:pt x="3008" y="810"/>
                      <a:pt x="3020" y="810"/>
                    </a:cubicBezTo>
                    <a:cubicBezTo>
                      <a:pt x="3032" y="810"/>
                      <a:pt x="3042" y="820"/>
                      <a:pt x="3042" y="833"/>
                    </a:cubicBezTo>
                    <a:cubicBezTo>
                      <a:pt x="3042" y="845"/>
                      <a:pt x="3032" y="855"/>
                      <a:pt x="3020" y="855"/>
                    </a:cubicBezTo>
                    <a:close/>
                    <a:moveTo>
                      <a:pt x="3147" y="564"/>
                    </a:moveTo>
                    <a:cubicBezTo>
                      <a:pt x="3094" y="564"/>
                      <a:pt x="3051" y="521"/>
                      <a:pt x="3051" y="468"/>
                    </a:cubicBezTo>
                    <a:cubicBezTo>
                      <a:pt x="3051" y="415"/>
                      <a:pt x="3094" y="372"/>
                      <a:pt x="3147" y="372"/>
                    </a:cubicBezTo>
                    <a:cubicBezTo>
                      <a:pt x="3200" y="372"/>
                      <a:pt x="3243" y="415"/>
                      <a:pt x="3243" y="468"/>
                    </a:cubicBezTo>
                    <a:cubicBezTo>
                      <a:pt x="3243" y="521"/>
                      <a:pt x="3200" y="564"/>
                      <a:pt x="3147" y="564"/>
                    </a:cubicBezTo>
                    <a:close/>
                    <a:moveTo>
                      <a:pt x="3540" y="633"/>
                    </a:moveTo>
                    <a:cubicBezTo>
                      <a:pt x="3564" y="633"/>
                      <a:pt x="3583" y="652"/>
                      <a:pt x="3583" y="675"/>
                    </a:cubicBezTo>
                    <a:cubicBezTo>
                      <a:pt x="3583" y="699"/>
                      <a:pt x="3564" y="718"/>
                      <a:pt x="3540" y="718"/>
                    </a:cubicBezTo>
                    <a:cubicBezTo>
                      <a:pt x="3517" y="718"/>
                      <a:pt x="3498" y="699"/>
                      <a:pt x="3498" y="675"/>
                    </a:cubicBezTo>
                    <a:cubicBezTo>
                      <a:pt x="3498" y="652"/>
                      <a:pt x="3517" y="633"/>
                      <a:pt x="3540" y="633"/>
                    </a:cubicBezTo>
                    <a:close/>
                    <a:moveTo>
                      <a:pt x="3442" y="433"/>
                    </a:moveTo>
                    <a:cubicBezTo>
                      <a:pt x="3430" y="433"/>
                      <a:pt x="3420" y="423"/>
                      <a:pt x="3420" y="411"/>
                    </a:cubicBezTo>
                    <a:cubicBezTo>
                      <a:pt x="3420" y="398"/>
                      <a:pt x="3430" y="388"/>
                      <a:pt x="3442" y="388"/>
                    </a:cubicBezTo>
                    <a:cubicBezTo>
                      <a:pt x="3454" y="388"/>
                      <a:pt x="3464" y="398"/>
                      <a:pt x="3464" y="411"/>
                    </a:cubicBezTo>
                    <a:cubicBezTo>
                      <a:pt x="3464" y="423"/>
                      <a:pt x="3454" y="433"/>
                      <a:pt x="3442" y="433"/>
                    </a:cubicBezTo>
                    <a:close/>
                    <a:moveTo>
                      <a:pt x="3618" y="240"/>
                    </a:moveTo>
                    <a:cubicBezTo>
                      <a:pt x="3575" y="240"/>
                      <a:pt x="3539" y="205"/>
                      <a:pt x="3539" y="161"/>
                    </a:cubicBezTo>
                    <a:cubicBezTo>
                      <a:pt x="3539" y="117"/>
                      <a:pt x="3575" y="82"/>
                      <a:pt x="3618" y="82"/>
                    </a:cubicBezTo>
                    <a:cubicBezTo>
                      <a:pt x="3662" y="82"/>
                      <a:pt x="3697" y="117"/>
                      <a:pt x="3697" y="161"/>
                    </a:cubicBezTo>
                    <a:cubicBezTo>
                      <a:pt x="3697" y="205"/>
                      <a:pt x="3662" y="240"/>
                      <a:pt x="3618" y="240"/>
                    </a:cubicBezTo>
                    <a:close/>
                    <a:moveTo>
                      <a:pt x="3930" y="414"/>
                    </a:moveTo>
                    <a:cubicBezTo>
                      <a:pt x="3907" y="414"/>
                      <a:pt x="3888" y="395"/>
                      <a:pt x="3888" y="371"/>
                    </a:cubicBezTo>
                    <a:cubicBezTo>
                      <a:pt x="3888" y="348"/>
                      <a:pt x="3907" y="329"/>
                      <a:pt x="3930" y="329"/>
                    </a:cubicBezTo>
                    <a:cubicBezTo>
                      <a:pt x="3954" y="329"/>
                      <a:pt x="3973" y="348"/>
                      <a:pt x="3973" y="371"/>
                    </a:cubicBezTo>
                    <a:cubicBezTo>
                      <a:pt x="3973" y="395"/>
                      <a:pt x="3954" y="414"/>
                      <a:pt x="3930" y="4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" name="Oval 6"/>
              <p:cNvSpPr>
                <a:spLocks noChangeArrowheads="1"/>
              </p:cNvSpPr>
              <p:nvPr userDrawn="1"/>
            </p:nvSpPr>
            <p:spPr bwMode="auto">
              <a:xfrm>
                <a:off x="5694363" y="4705350"/>
                <a:ext cx="782638" cy="781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17" name="Rechteck 16"/>
            <p:cNvSpPr/>
            <p:nvPr userDrawn="1"/>
          </p:nvSpPr>
          <p:spPr>
            <a:xfrm>
              <a:off x="-12137" y="0"/>
              <a:ext cx="12296726" cy="6858000"/>
            </a:xfrm>
            <a:prstGeom prst="rect">
              <a:avLst/>
            </a:prstGeom>
            <a:gradFill flip="none" rotWithShape="0">
              <a:gsLst>
                <a:gs pos="0">
                  <a:schemeClr val="tx1">
                    <a:alpha val="90000"/>
                  </a:schemeClr>
                </a:gs>
                <a:gs pos="50000">
                  <a:schemeClr val="tx1">
                    <a:lumMod val="85000"/>
                    <a:lumOff val="15000"/>
                    <a:alpha val="40000"/>
                  </a:schemeClr>
                </a:gs>
                <a:gs pos="100000">
                  <a:schemeClr val="tx1">
                    <a:lumMod val="65000"/>
                    <a:lumOff val="3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-12138" y="5805488"/>
              <a:ext cx="12202551" cy="1052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0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44376" y="4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044376" y="3741445"/>
            <a:ext cx="10101664" cy="2061759"/>
          </a:xfrm>
        </p:spPr>
        <p:txBody>
          <a:bodyPr vert="horz" lIns="10798" tIns="0" rIns="0" bIns="0" rtlCol="0" anchor="t" anchorCtr="0">
            <a:noAutofit/>
          </a:bodyPr>
          <a:lstStyle>
            <a:lvl1pPr>
              <a:defRPr lang="de-DE" sz="4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80000"/>
              </a:lnSpc>
              <a:buNone/>
            </a:pPr>
            <a:r>
              <a:rPr lang="de-DE" dirty="0"/>
              <a:t>SUBTITL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6DF0B11-E224-42A4-80D6-3098FA3EBB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137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 userDrawn="1"/>
        </p:nvGrpSpPr>
        <p:grpSpPr>
          <a:xfrm>
            <a:off x="-279398" y="0"/>
            <a:ext cx="12749214" cy="6858000"/>
            <a:chOff x="-279400" y="0"/>
            <a:chExt cx="12749213" cy="6858000"/>
          </a:xfrm>
        </p:grpSpPr>
        <p:sp>
          <p:nvSpPr>
            <p:cNvPr id="13" name="Rechteck 12"/>
            <p:cNvSpPr/>
            <p:nvPr userDrawn="1"/>
          </p:nvSpPr>
          <p:spPr>
            <a:xfrm>
              <a:off x="-12138" y="0"/>
              <a:ext cx="12202556" cy="68580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14" name="Gruppieren 13"/>
            <p:cNvGrpSpPr/>
            <p:nvPr userDrawn="1"/>
          </p:nvGrpSpPr>
          <p:grpSpPr>
            <a:xfrm>
              <a:off x="-279400" y="3046413"/>
              <a:ext cx="12749213" cy="3163887"/>
              <a:chOff x="-276225" y="3046413"/>
              <a:chExt cx="12749213" cy="3163887"/>
            </a:xfrm>
            <a:solidFill>
              <a:schemeClr val="bg1"/>
            </a:solidFill>
          </p:grpSpPr>
          <p:sp>
            <p:nvSpPr>
              <p:cNvPr id="17" name="Freeform 7"/>
              <p:cNvSpPr>
                <a:spLocks noEditPoints="1"/>
              </p:cNvSpPr>
              <p:nvPr userDrawn="1"/>
            </p:nvSpPr>
            <p:spPr bwMode="auto">
              <a:xfrm>
                <a:off x="-276225" y="3046413"/>
                <a:ext cx="12749213" cy="3163887"/>
              </a:xfrm>
              <a:custGeom>
                <a:avLst/>
                <a:gdLst>
                  <a:gd name="T0" fmla="*/ 3618 w 4014"/>
                  <a:gd name="T1" fmla="*/ 28 h 996"/>
                  <a:gd name="T2" fmla="*/ 3397 w 4014"/>
                  <a:gd name="T3" fmla="*/ 411 h 996"/>
                  <a:gd name="T4" fmla="*/ 2836 w 4014"/>
                  <a:gd name="T5" fmla="*/ 365 h 996"/>
                  <a:gd name="T6" fmla="*/ 2841 w 4014"/>
                  <a:gd name="T7" fmla="*/ 65 h 996"/>
                  <a:gd name="T8" fmla="*/ 2685 w 4014"/>
                  <a:gd name="T9" fmla="*/ 168 h 996"/>
                  <a:gd name="T10" fmla="*/ 2523 w 4014"/>
                  <a:gd name="T11" fmla="*/ 134 h 996"/>
                  <a:gd name="T12" fmla="*/ 2553 w 4014"/>
                  <a:gd name="T13" fmla="*/ 407 h 996"/>
                  <a:gd name="T14" fmla="*/ 1431 w 4014"/>
                  <a:gd name="T15" fmla="*/ 508 h 996"/>
                  <a:gd name="T16" fmla="*/ 1378 w 4014"/>
                  <a:gd name="T17" fmla="*/ 180 h 996"/>
                  <a:gd name="T18" fmla="*/ 1149 w 4014"/>
                  <a:gd name="T19" fmla="*/ 430 h 996"/>
                  <a:gd name="T20" fmla="*/ 794 w 4014"/>
                  <a:gd name="T21" fmla="*/ 80 h 996"/>
                  <a:gd name="T22" fmla="*/ 780 w 4014"/>
                  <a:gd name="T23" fmla="*/ 87 h 996"/>
                  <a:gd name="T24" fmla="*/ 706 w 4014"/>
                  <a:gd name="T25" fmla="*/ 344 h 996"/>
                  <a:gd name="T26" fmla="*/ 231 w 4014"/>
                  <a:gd name="T27" fmla="*/ 199 h 996"/>
                  <a:gd name="T28" fmla="*/ 84 w 4014"/>
                  <a:gd name="T29" fmla="*/ 207 h 996"/>
                  <a:gd name="T30" fmla="*/ 230 w 4014"/>
                  <a:gd name="T31" fmla="*/ 516 h 996"/>
                  <a:gd name="T32" fmla="*/ 244 w 4014"/>
                  <a:gd name="T33" fmla="*/ 523 h 996"/>
                  <a:gd name="T34" fmla="*/ 653 w 4014"/>
                  <a:gd name="T35" fmla="*/ 397 h 996"/>
                  <a:gd name="T36" fmla="*/ 902 w 4014"/>
                  <a:gd name="T37" fmla="*/ 346 h 996"/>
                  <a:gd name="T38" fmla="*/ 1068 w 4014"/>
                  <a:gd name="T39" fmla="*/ 567 h 996"/>
                  <a:gd name="T40" fmla="*/ 1073 w 4014"/>
                  <a:gd name="T41" fmla="*/ 583 h 996"/>
                  <a:gd name="T42" fmla="*/ 1341 w 4014"/>
                  <a:gd name="T43" fmla="*/ 711 h 996"/>
                  <a:gd name="T44" fmla="*/ 1353 w 4014"/>
                  <a:gd name="T45" fmla="*/ 641 h 996"/>
                  <a:gd name="T46" fmla="*/ 2350 w 4014"/>
                  <a:gd name="T47" fmla="*/ 651 h 996"/>
                  <a:gd name="T48" fmla="*/ 2757 w 4014"/>
                  <a:gd name="T49" fmla="*/ 535 h 996"/>
                  <a:gd name="T50" fmla="*/ 2773 w 4014"/>
                  <a:gd name="T51" fmla="*/ 530 h 996"/>
                  <a:gd name="T52" fmla="*/ 3085 w 4014"/>
                  <a:gd name="T53" fmla="*/ 622 h 996"/>
                  <a:gd name="T54" fmla="*/ 3065 w 4014"/>
                  <a:gd name="T55" fmla="*/ 833 h 996"/>
                  <a:gd name="T56" fmla="*/ 3459 w 4014"/>
                  <a:gd name="T57" fmla="*/ 656 h 996"/>
                  <a:gd name="T58" fmla="*/ 3464 w 4014"/>
                  <a:gd name="T59" fmla="*/ 641 h 996"/>
                  <a:gd name="T60" fmla="*/ 3442 w 4014"/>
                  <a:gd name="T61" fmla="*/ 456 h 996"/>
                  <a:gd name="T62" fmla="*/ 3726 w 4014"/>
                  <a:gd name="T63" fmla="*/ 244 h 996"/>
                  <a:gd name="T64" fmla="*/ 3930 w 4014"/>
                  <a:gd name="T65" fmla="*/ 287 h 996"/>
                  <a:gd name="T66" fmla="*/ 2796 w 4014"/>
                  <a:gd name="T67" fmla="*/ 42 h 996"/>
                  <a:gd name="T68" fmla="*/ 2536 w 4014"/>
                  <a:gd name="T69" fmla="*/ 134 h 996"/>
                  <a:gd name="T70" fmla="*/ 1378 w 4014"/>
                  <a:gd name="T71" fmla="*/ 202 h 996"/>
                  <a:gd name="T72" fmla="*/ 744 w 4014"/>
                  <a:gd name="T73" fmla="*/ 45 h 996"/>
                  <a:gd name="T74" fmla="*/ 84 w 4014"/>
                  <a:gd name="T75" fmla="*/ 166 h 996"/>
                  <a:gd name="T76" fmla="*/ 214 w 4014"/>
                  <a:gd name="T77" fmla="*/ 593 h 996"/>
                  <a:gd name="T78" fmla="*/ 388 w 4014"/>
                  <a:gd name="T79" fmla="*/ 385 h 996"/>
                  <a:gd name="T80" fmla="*/ 706 w 4014"/>
                  <a:gd name="T81" fmla="*/ 423 h 996"/>
                  <a:gd name="T82" fmla="*/ 902 w 4014"/>
                  <a:gd name="T83" fmla="*/ 298 h 996"/>
                  <a:gd name="T84" fmla="*/ 1028 w 4014"/>
                  <a:gd name="T85" fmla="*/ 611 h 996"/>
                  <a:gd name="T86" fmla="*/ 1408 w 4014"/>
                  <a:gd name="T87" fmla="*/ 711 h 996"/>
                  <a:gd name="T88" fmla="*/ 1279 w 4014"/>
                  <a:gd name="T89" fmla="*/ 595 h 996"/>
                  <a:gd name="T90" fmla="*/ 2005 w 4014"/>
                  <a:gd name="T91" fmla="*/ 866 h 996"/>
                  <a:gd name="T92" fmla="*/ 2835 w 4014"/>
                  <a:gd name="T93" fmla="*/ 611 h 996"/>
                  <a:gd name="T94" fmla="*/ 2685 w 4014"/>
                  <a:gd name="T95" fmla="*/ 413 h 996"/>
                  <a:gd name="T96" fmla="*/ 3020 w 4014"/>
                  <a:gd name="T97" fmla="*/ 855 h 996"/>
                  <a:gd name="T98" fmla="*/ 3147 w 4014"/>
                  <a:gd name="T99" fmla="*/ 564 h 996"/>
                  <a:gd name="T100" fmla="*/ 3540 w 4014"/>
                  <a:gd name="T101" fmla="*/ 633 h 996"/>
                  <a:gd name="T102" fmla="*/ 3442 w 4014"/>
                  <a:gd name="T103" fmla="*/ 433 h 996"/>
                  <a:gd name="T104" fmla="*/ 3618 w 4014"/>
                  <a:gd name="T105" fmla="*/ 240 h 996"/>
                  <a:gd name="T106" fmla="*/ 3930 w 4014"/>
                  <a:gd name="T107" fmla="*/ 414 h 9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14" h="996">
                    <a:moveTo>
                      <a:pt x="3930" y="287"/>
                    </a:moveTo>
                    <a:cubicBezTo>
                      <a:pt x="3903" y="287"/>
                      <a:pt x="3880" y="300"/>
                      <a:pt x="3864" y="320"/>
                    </a:cubicBezTo>
                    <a:cubicBezTo>
                      <a:pt x="3735" y="231"/>
                      <a:pt x="3735" y="231"/>
                      <a:pt x="3735" y="231"/>
                    </a:cubicBezTo>
                    <a:cubicBezTo>
                      <a:pt x="3747" y="211"/>
                      <a:pt x="3753" y="188"/>
                      <a:pt x="3753" y="163"/>
                    </a:cubicBezTo>
                    <a:cubicBezTo>
                      <a:pt x="3753" y="88"/>
                      <a:pt x="3693" y="28"/>
                      <a:pt x="3618" y="28"/>
                    </a:cubicBezTo>
                    <a:cubicBezTo>
                      <a:pt x="3544" y="28"/>
                      <a:pt x="3483" y="88"/>
                      <a:pt x="3483" y="163"/>
                    </a:cubicBezTo>
                    <a:cubicBezTo>
                      <a:pt x="3483" y="207"/>
                      <a:pt x="3505" y="247"/>
                      <a:pt x="3538" y="272"/>
                    </a:cubicBezTo>
                    <a:cubicBezTo>
                      <a:pt x="3464" y="372"/>
                      <a:pt x="3464" y="372"/>
                      <a:pt x="3464" y="372"/>
                    </a:cubicBezTo>
                    <a:cubicBezTo>
                      <a:pt x="3458" y="368"/>
                      <a:pt x="3450" y="366"/>
                      <a:pt x="3442" y="366"/>
                    </a:cubicBezTo>
                    <a:cubicBezTo>
                      <a:pt x="3417" y="366"/>
                      <a:pt x="3397" y="386"/>
                      <a:pt x="3397" y="411"/>
                    </a:cubicBezTo>
                    <a:cubicBezTo>
                      <a:pt x="3397" y="412"/>
                      <a:pt x="3397" y="412"/>
                      <a:pt x="3397" y="413"/>
                    </a:cubicBezTo>
                    <a:cubicBezTo>
                      <a:pt x="3304" y="424"/>
                      <a:pt x="3304" y="424"/>
                      <a:pt x="3304" y="424"/>
                    </a:cubicBezTo>
                    <a:cubicBezTo>
                      <a:pt x="3284" y="357"/>
                      <a:pt x="3221" y="307"/>
                      <a:pt x="3147" y="307"/>
                    </a:cubicBezTo>
                    <a:cubicBezTo>
                      <a:pt x="3077" y="307"/>
                      <a:pt x="3017" y="351"/>
                      <a:pt x="2994" y="414"/>
                    </a:cubicBezTo>
                    <a:cubicBezTo>
                      <a:pt x="2836" y="365"/>
                      <a:pt x="2836" y="365"/>
                      <a:pt x="2836" y="365"/>
                    </a:cubicBezTo>
                    <a:cubicBezTo>
                      <a:pt x="2839" y="352"/>
                      <a:pt x="2841" y="338"/>
                      <a:pt x="2841" y="324"/>
                    </a:cubicBezTo>
                    <a:cubicBezTo>
                      <a:pt x="2841" y="263"/>
                      <a:pt x="2807" y="211"/>
                      <a:pt x="2757" y="185"/>
                    </a:cubicBezTo>
                    <a:cubicBezTo>
                      <a:pt x="2787" y="109"/>
                      <a:pt x="2787" y="109"/>
                      <a:pt x="2787" y="109"/>
                    </a:cubicBezTo>
                    <a:cubicBezTo>
                      <a:pt x="2790" y="109"/>
                      <a:pt x="2793" y="110"/>
                      <a:pt x="2796" y="110"/>
                    </a:cubicBezTo>
                    <a:cubicBezTo>
                      <a:pt x="2821" y="110"/>
                      <a:pt x="2841" y="89"/>
                      <a:pt x="2841" y="65"/>
                    </a:cubicBezTo>
                    <a:cubicBezTo>
                      <a:pt x="2841" y="40"/>
                      <a:pt x="2821" y="20"/>
                      <a:pt x="2796" y="20"/>
                    </a:cubicBezTo>
                    <a:cubicBezTo>
                      <a:pt x="2771" y="20"/>
                      <a:pt x="2751" y="40"/>
                      <a:pt x="2751" y="65"/>
                    </a:cubicBezTo>
                    <a:cubicBezTo>
                      <a:pt x="2751" y="81"/>
                      <a:pt x="2760" y="95"/>
                      <a:pt x="2772" y="103"/>
                    </a:cubicBezTo>
                    <a:cubicBezTo>
                      <a:pt x="2742" y="179"/>
                      <a:pt x="2742" y="179"/>
                      <a:pt x="2742" y="179"/>
                    </a:cubicBezTo>
                    <a:cubicBezTo>
                      <a:pt x="2724" y="172"/>
                      <a:pt x="2705" y="168"/>
                      <a:pt x="2685" y="168"/>
                    </a:cubicBezTo>
                    <a:cubicBezTo>
                      <a:pt x="2658" y="168"/>
                      <a:pt x="2632" y="175"/>
                      <a:pt x="2609" y="188"/>
                    </a:cubicBezTo>
                    <a:cubicBezTo>
                      <a:pt x="2575" y="151"/>
                      <a:pt x="2575" y="151"/>
                      <a:pt x="2575" y="151"/>
                    </a:cubicBezTo>
                    <a:cubicBezTo>
                      <a:pt x="2579" y="146"/>
                      <a:pt x="2581" y="140"/>
                      <a:pt x="2581" y="134"/>
                    </a:cubicBezTo>
                    <a:cubicBezTo>
                      <a:pt x="2581" y="118"/>
                      <a:pt x="2568" y="105"/>
                      <a:pt x="2552" y="105"/>
                    </a:cubicBezTo>
                    <a:cubicBezTo>
                      <a:pt x="2536" y="105"/>
                      <a:pt x="2523" y="118"/>
                      <a:pt x="2523" y="134"/>
                    </a:cubicBezTo>
                    <a:cubicBezTo>
                      <a:pt x="2523" y="150"/>
                      <a:pt x="2536" y="163"/>
                      <a:pt x="2552" y="163"/>
                    </a:cubicBezTo>
                    <a:cubicBezTo>
                      <a:pt x="2556" y="163"/>
                      <a:pt x="2559" y="162"/>
                      <a:pt x="2563" y="161"/>
                    </a:cubicBezTo>
                    <a:cubicBezTo>
                      <a:pt x="2595" y="196"/>
                      <a:pt x="2595" y="196"/>
                      <a:pt x="2595" y="196"/>
                    </a:cubicBezTo>
                    <a:cubicBezTo>
                      <a:pt x="2555" y="225"/>
                      <a:pt x="2529" y="271"/>
                      <a:pt x="2529" y="324"/>
                    </a:cubicBezTo>
                    <a:cubicBezTo>
                      <a:pt x="2529" y="354"/>
                      <a:pt x="2538" y="383"/>
                      <a:pt x="2553" y="407"/>
                    </a:cubicBezTo>
                    <a:cubicBezTo>
                      <a:pt x="2334" y="546"/>
                      <a:pt x="2334" y="546"/>
                      <a:pt x="2334" y="546"/>
                    </a:cubicBezTo>
                    <a:cubicBezTo>
                      <a:pt x="2290" y="407"/>
                      <a:pt x="2159" y="306"/>
                      <a:pt x="2005" y="306"/>
                    </a:cubicBezTo>
                    <a:cubicBezTo>
                      <a:pt x="1840" y="306"/>
                      <a:pt x="1702" y="422"/>
                      <a:pt x="1668" y="577"/>
                    </a:cubicBezTo>
                    <a:cubicBezTo>
                      <a:pt x="1429" y="537"/>
                      <a:pt x="1429" y="537"/>
                      <a:pt x="1429" y="537"/>
                    </a:cubicBezTo>
                    <a:cubicBezTo>
                      <a:pt x="1430" y="527"/>
                      <a:pt x="1431" y="518"/>
                      <a:pt x="1431" y="508"/>
                    </a:cubicBezTo>
                    <a:cubicBezTo>
                      <a:pt x="1431" y="442"/>
                      <a:pt x="1390" y="386"/>
                      <a:pt x="1331" y="365"/>
                    </a:cubicBezTo>
                    <a:cubicBezTo>
                      <a:pt x="1374" y="269"/>
                      <a:pt x="1374" y="269"/>
                      <a:pt x="1374" y="269"/>
                    </a:cubicBezTo>
                    <a:cubicBezTo>
                      <a:pt x="1375" y="270"/>
                      <a:pt x="1377" y="270"/>
                      <a:pt x="1378" y="270"/>
                    </a:cubicBezTo>
                    <a:cubicBezTo>
                      <a:pt x="1403" y="270"/>
                      <a:pt x="1423" y="249"/>
                      <a:pt x="1423" y="225"/>
                    </a:cubicBezTo>
                    <a:cubicBezTo>
                      <a:pt x="1423" y="200"/>
                      <a:pt x="1403" y="180"/>
                      <a:pt x="1378" y="180"/>
                    </a:cubicBezTo>
                    <a:cubicBezTo>
                      <a:pt x="1353" y="180"/>
                      <a:pt x="1333" y="200"/>
                      <a:pt x="1333" y="225"/>
                    </a:cubicBezTo>
                    <a:cubicBezTo>
                      <a:pt x="1333" y="242"/>
                      <a:pt x="1343" y="258"/>
                      <a:pt x="1358" y="265"/>
                    </a:cubicBezTo>
                    <a:cubicBezTo>
                      <a:pt x="1316" y="360"/>
                      <a:pt x="1316" y="360"/>
                      <a:pt x="1316" y="360"/>
                    </a:cubicBezTo>
                    <a:cubicBezTo>
                      <a:pt x="1304" y="358"/>
                      <a:pt x="1292" y="356"/>
                      <a:pt x="1279" y="356"/>
                    </a:cubicBezTo>
                    <a:cubicBezTo>
                      <a:pt x="1224" y="356"/>
                      <a:pt x="1176" y="385"/>
                      <a:pt x="1149" y="430"/>
                    </a:cubicBezTo>
                    <a:cubicBezTo>
                      <a:pt x="994" y="297"/>
                      <a:pt x="994" y="297"/>
                      <a:pt x="994" y="297"/>
                    </a:cubicBezTo>
                    <a:cubicBezTo>
                      <a:pt x="1006" y="280"/>
                      <a:pt x="1013" y="258"/>
                      <a:pt x="1013" y="235"/>
                    </a:cubicBezTo>
                    <a:cubicBezTo>
                      <a:pt x="1013" y="174"/>
                      <a:pt x="964" y="124"/>
                      <a:pt x="902" y="124"/>
                    </a:cubicBezTo>
                    <a:cubicBezTo>
                      <a:pt x="879" y="124"/>
                      <a:pt x="858" y="131"/>
                      <a:pt x="840" y="143"/>
                    </a:cubicBezTo>
                    <a:cubicBezTo>
                      <a:pt x="794" y="80"/>
                      <a:pt x="794" y="80"/>
                      <a:pt x="794" y="80"/>
                    </a:cubicBezTo>
                    <a:cubicBezTo>
                      <a:pt x="804" y="72"/>
                      <a:pt x="811" y="59"/>
                      <a:pt x="811" y="45"/>
                    </a:cubicBezTo>
                    <a:cubicBezTo>
                      <a:pt x="811" y="20"/>
                      <a:pt x="791" y="0"/>
                      <a:pt x="766" y="0"/>
                    </a:cubicBezTo>
                    <a:cubicBezTo>
                      <a:pt x="741" y="0"/>
                      <a:pt x="721" y="20"/>
                      <a:pt x="721" y="45"/>
                    </a:cubicBezTo>
                    <a:cubicBezTo>
                      <a:pt x="721" y="69"/>
                      <a:pt x="741" y="90"/>
                      <a:pt x="766" y="90"/>
                    </a:cubicBezTo>
                    <a:cubicBezTo>
                      <a:pt x="771" y="90"/>
                      <a:pt x="775" y="89"/>
                      <a:pt x="780" y="87"/>
                    </a:cubicBezTo>
                    <a:cubicBezTo>
                      <a:pt x="827" y="153"/>
                      <a:pt x="827" y="153"/>
                      <a:pt x="827" y="153"/>
                    </a:cubicBezTo>
                    <a:cubicBezTo>
                      <a:pt x="805" y="173"/>
                      <a:pt x="791" y="203"/>
                      <a:pt x="791" y="235"/>
                    </a:cubicBezTo>
                    <a:cubicBezTo>
                      <a:pt x="791" y="256"/>
                      <a:pt x="797" y="276"/>
                      <a:pt x="808" y="293"/>
                    </a:cubicBezTo>
                    <a:cubicBezTo>
                      <a:pt x="741" y="357"/>
                      <a:pt x="741" y="357"/>
                      <a:pt x="741" y="357"/>
                    </a:cubicBezTo>
                    <a:cubicBezTo>
                      <a:pt x="732" y="349"/>
                      <a:pt x="719" y="344"/>
                      <a:pt x="706" y="344"/>
                    </a:cubicBezTo>
                    <a:cubicBezTo>
                      <a:pt x="686" y="344"/>
                      <a:pt x="669" y="355"/>
                      <a:pt x="660" y="371"/>
                    </a:cubicBezTo>
                    <a:cubicBezTo>
                      <a:pt x="564" y="325"/>
                      <a:pt x="564" y="325"/>
                      <a:pt x="564" y="325"/>
                    </a:cubicBezTo>
                    <a:cubicBezTo>
                      <a:pt x="567" y="312"/>
                      <a:pt x="569" y="298"/>
                      <a:pt x="569" y="285"/>
                    </a:cubicBezTo>
                    <a:cubicBezTo>
                      <a:pt x="569" y="188"/>
                      <a:pt x="488" y="109"/>
                      <a:pt x="388" y="109"/>
                    </a:cubicBezTo>
                    <a:cubicBezTo>
                      <a:pt x="320" y="109"/>
                      <a:pt x="261" y="146"/>
                      <a:pt x="231" y="199"/>
                    </a:cubicBezTo>
                    <a:cubicBezTo>
                      <a:pt x="162" y="155"/>
                      <a:pt x="162" y="155"/>
                      <a:pt x="162" y="155"/>
                    </a:cubicBezTo>
                    <a:cubicBezTo>
                      <a:pt x="166" y="145"/>
                      <a:pt x="168" y="135"/>
                      <a:pt x="168" y="123"/>
                    </a:cubicBezTo>
                    <a:cubicBezTo>
                      <a:pt x="168" y="77"/>
                      <a:pt x="131" y="39"/>
                      <a:pt x="84" y="39"/>
                    </a:cubicBezTo>
                    <a:cubicBezTo>
                      <a:pt x="38" y="39"/>
                      <a:pt x="0" y="77"/>
                      <a:pt x="0" y="123"/>
                    </a:cubicBezTo>
                    <a:cubicBezTo>
                      <a:pt x="0" y="170"/>
                      <a:pt x="38" y="207"/>
                      <a:pt x="84" y="207"/>
                    </a:cubicBezTo>
                    <a:cubicBezTo>
                      <a:pt x="114" y="207"/>
                      <a:pt x="139" y="192"/>
                      <a:pt x="154" y="170"/>
                    </a:cubicBezTo>
                    <a:cubicBezTo>
                      <a:pt x="223" y="214"/>
                      <a:pt x="223" y="214"/>
                      <a:pt x="223" y="214"/>
                    </a:cubicBezTo>
                    <a:cubicBezTo>
                      <a:pt x="213" y="235"/>
                      <a:pt x="208" y="259"/>
                      <a:pt x="208" y="285"/>
                    </a:cubicBezTo>
                    <a:cubicBezTo>
                      <a:pt x="208" y="344"/>
                      <a:pt x="239" y="397"/>
                      <a:pt x="286" y="429"/>
                    </a:cubicBezTo>
                    <a:cubicBezTo>
                      <a:pt x="230" y="516"/>
                      <a:pt x="230" y="516"/>
                      <a:pt x="230" y="516"/>
                    </a:cubicBezTo>
                    <a:cubicBezTo>
                      <a:pt x="225" y="514"/>
                      <a:pt x="220" y="514"/>
                      <a:pt x="214" y="514"/>
                    </a:cubicBezTo>
                    <a:cubicBezTo>
                      <a:pt x="185" y="514"/>
                      <a:pt x="161" y="537"/>
                      <a:pt x="161" y="567"/>
                    </a:cubicBezTo>
                    <a:cubicBezTo>
                      <a:pt x="161" y="596"/>
                      <a:pt x="185" y="620"/>
                      <a:pt x="214" y="620"/>
                    </a:cubicBezTo>
                    <a:cubicBezTo>
                      <a:pt x="243" y="620"/>
                      <a:pt x="267" y="596"/>
                      <a:pt x="267" y="567"/>
                    </a:cubicBezTo>
                    <a:cubicBezTo>
                      <a:pt x="267" y="549"/>
                      <a:pt x="258" y="533"/>
                      <a:pt x="244" y="523"/>
                    </a:cubicBezTo>
                    <a:cubicBezTo>
                      <a:pt x="300" y="437"/>
                      <a:pt x="300" y="437"/>
                      <a:pt x="300" y="437"/>
                    </a:cubicBezTo>
                    <a:cubicBezTo>
                      <a:pt x="326" y="452"/>
                      <a:pt x="356" y="460"/>
                      <a:pt x="388" y="460"/>
                    </a:cubicBezTo>
                    <a:cubicBezTo>
                      <a:pt x="468" y="460"/>
                      <a:pt x="535" y="410"/>
                      <a:pt x="559" y="340"/>
                    </a:cubicBezTo>
                    <a:cubicBezTo>
                      <a:pt x="654" y="386"/>
                      <a:pt x="654" y="386"/>
                      <a:pt x="654" y="386"/>
                    </a:cubicBezTo>
                    <a:cubicBezTo>
                      <a:pt x="653" y="389"/>
                      <a:pt x="653" y="393"/>
                      <a:pt x="653" y="397"/>
                    </a:cubicBezTo>
                    <a:cubicBezTo>
                      <a:pt x="653" y="426"/>
                      <a:pt x="677" y="450"/>
                      <a:pt x="706" y="450"/>
                    </a:cubicBezTo>
                    <a:cubicBezTo>
                      <a:pt x="735" y="450"/>
                      <a:pt x="759" y="426"/>
                      <a:pt x="759" y="397"/>
                    </a:cubicBezTo>
                    <a:cubicBezTo>
                      <a:pt x="759" y="387"/>
                      <a:pt x="756" y="377"/>
                      <a:pt x="751" y="369"/>
                    </a:cubicBezTo>
                    <a:cubicBezTo>
                      <a:pt x="817" y="306"/>
                      <a:pt x="817" y="306"/>
                      <a:pt x="817" y="306"/>
                    </a:cubicBezTo>
                    <a:cubicBezTo>
                      <a:pt x="838" y="331"/>
                      <a:pt x="868" y="346"/>
                      <a:pt x="902" y="346"/>
                    </a:cubicBezTo>
                    <a:cubicBezTo>
                      <a:pt x="935" y="346"/>
                      <a:pt x="964" y="332"/>
                      <a:pt x="984" y="310"/>
                    </a:cubicBezTo>
                    <a:cubicBezTo>
                      <a:pt x="1141" y="444"/>
                      <a:pt x="1141" y="444"/>
                      <a:pt x="1141" y="444"/>
                    </a:cubicBezTo>
                    <a:cubicBezTo>
                      <a:pt x="1132" y="463"/>
                      <a:pt x="1127" y="485"/>
                      <a:pt x="1127" y="508"/>
                    </a:cubicBezTo>
                    <a:cubicBezTo>
                      <a:pt x="1127" y="520"/>
                      <a:pt x="1129" y="532"/>
                      <a:pt x="1132" y="544"/>
                    </a:cubicBezTo>
                    <a:cubicBezTo>
                      <a:pt x="1068" y="567"/>
                      <a:pt x="1068" y="567"/>
                      <a:pt x="1068" y="567"/>
                    </a:cubicBezTo>
                    <a:cubicBezTo>
                      <a:pt x="1060" y="553"/>
                      <a:pt x="1045" y="544"/>
                      <a:pt x="1028" y="544"/>
                    </a:cubicBezTo>
                    <a:cubicBezTo>
                      <a:pt x="1003" y="544"/>
                      <a:pt x="983" y="564"/>
                      <a:pt x="983" y="589"/>
                    </a:cubicBezTo>
                    <a:cubicBezTo>
                      <a:pt x="983" y="613"/>
                      <a:pt x="1003" y="634"/>
                      <a:pt x="1028" y="634"/>
                    </a:cubicBezTo>
                    <a:cubicBezTo>
                      <a:pt x="1053" y="634"/>
                      <a:pt x="1073" y="613"/>
                      <a:pt x="1073" y="589"/>
                    </a:cubicBezTo>
                    <a:cubicBezTo>
                      <a:pt x="1073" y="587"/>
                      <a:pt x="1073" y="585"/>
                      <a:pt x="1073" y="583"/>
                    </a:cubicBezTo>
                    <a:cubicBezTo>
                      <a:pt x="1136" y="559"/>
                      <a:pt x="1136" y="559"/>
                      <a:pt x="1136" y="559"/>
                    </a:cubicBezTo>
                    <a:cubicBezTo>
                      <a:pt x="1157" y="618"/>
                      <a:pt x="1213" y="660"/>
                      <a:pt x="1279" y="660"/>
                    </a:cubicBezTo>
                    <a:cubicBezTo>
                      <a:pt x="1300" y="660"/>
                      <a:pt x="1320" y="656"/>
                      <a:pt x="1339" y="648"/>
                    </a:cubicBezTo>
                    <a:cubicBezTo>
                      <a:pt x="1356" y="677"/>
                      <a:pt x="1356" y="677"/>
                      <a:pt x="1356" y="677"/>
                    </a:cubicBezTo>
                    <a:cubicBezTo>
                      <a:pt x="1347" y="685"/>
                      <a:pt x="1341" y="697"/>
                      <a:pt x="1341" y="711"/>
                    </a:cubicBezTo>
                    <a:cubicBezTo>
                      <a:pt x="1341" y="735"/>
                      <a:pt x="1361" y="756"/>
                      <a:pt x="1386" y="756"/>
                    </a:cubicBezTo>
                    <a:cubicBezTo>
                      <a:pt x="1411" y="756"/>
                      <a:pt x="1431" y="735"/>
                      <a:pt x="1431" y="711"/>
                    </a:cubicBezTo>
                    <a:cubicBezTo>
                      <a:pt x="1431" y="686"/>
                      <a:pt x="1411" y="666"/>
                      <a:pt x="1386" y="666"/>
                    </a:cubicBezTo>
                    <a:cubicBezTo>
                      <a:pt x="1380" y="666"/>
                      <a:pt x="1375" y="667"/>
                      <a:pt x="1370" y="669"/>
                    </a:cubicBezTo>
                    <a:cubicBezTo>
                      <a:pt x="1353" y="641"/>
                      <a:pt x="1353" y="641"/>
                      <a:pt x="1353" y="641"/>
                    </a:cubicBezTo>
                    <a:cubicBezTo>
                      <a:pt x="1387" y="622"/>
                      <a:pt x="1413" y="590"/>
                      <a:pt x="1425" y="552"/>
                    </a:cubicBezTo>
                    <a:cubicBezTo>
                      <a:pt x="1665" y="592"/>
                      <a:pt x="1665" y="592"/>
                      <a:pt x="1665" y="592"/>
                    </a:cubicBezTo>
                    <a:cubicBezTo>
                      <a:pt x="1662" y="611"/>
                      <a:pt x="1660" y="631"/>
                      <a:pt x="1660" y="651"/>
                    </a:cubicBezTo>
                    <a:cubicBezTo>
                      <a:pt x="1660" y="841"/>
                      <a:pt x="1814" y="996"/>
                      <a:pt x="2005" y="996"/>
                    </a:cubicBezTo>
                    <a:cubicBezTo>
                      <a:pt x="2196" y="996"/>
                      <a:pt x="2350" y="841"/>
                      <a:pt x="2350" y="651"/>
                    </a:cubicBezTo>
                    <a:cubicBezTo>
                      <a:pt x="2350" y="620"/>
                      <a:pt x="2346" y="591"/>
                      <a:pt x="2338" y="562"/>
                    </a:cubicBezTo>
                    <a:cubicBezTo>
                      <a:pt x="2562" y="420"/>
                      <a:pt x="2562" y="420"/>
                      <a:pt x="2562" y="420"/>
                    </a:cubicBezTo>
                    <a:cubicBezTo>
                      <a:pt x="2591" y="456"/>
                      <a:pt x="2635" y="480"/>
                      <a:pt x="2685" y="480"/>
                    </a:cubicBezTo>
                    <a:cubicBezTo>
                      <a:pt x="2700" y="480"/>
                      <a:pt x="2715" y="478"/>
                      <a:pt x="2728" y="474"/>
                    </a:cubicBezTo>
                    <a:cubicBezTo>
                      <a:pt x="2757" y="535"/>
                      <a:pt x="2757" y="535"/>
                      <a:pt x="2757" y="535"/>
                    </a:cubicBezTo>
                    <a:cubicBezTo>
                      <a:pt x="2728" y="548"/>
                      <a:pt x="2708" y="577"/>
                      <a:pt x="2708" y="611"/>
                    </a:cubicBezTo>
                    <a:cubicBezTo>
                      <a:pt x="2708" y="658"/>
                      <a:pt x="2746" y="695"/>
                      <a:pt x="2792" y="695"/>
                    </a:cubicBezTo>
                    <a:cubicBezTo>
                      <a:pt x="2839" y="695"/>
                      <a:pt x="2876" y="658"/>
                      <a:pt x="2876" y="611"/>
                    </a:cubicBezTo>
                    <a:cubicBezTo>
                      <a:pt x="2876" y="565"/>
                      <a:pt x="2839" y="527"/>
                      <a:pt x="2792" y="527"/>
                    </a:cubicBezTo>
                    <a:cubicBezTo>
                      <a:pt x="2786" y="527"/>
                      <a:pt x="2779" y="528"/>
                      <a:pt x="2773" y="530"/>
                    </a:cubicBezTo>
                    <a:cubicBezTo>
                      <a:pt x="2743" y="469"/>
                      <a:pt x="2743" y="469"/>
                      <a:pt x="2743" y="469"/>
                    </a:cubicBezTo>
                    <a:cubicBezTo>
                      <a:pt x="2783" y="453"/>
                      <a:pt x="2815" y="420"/>
                      <a:pt x="2831" y="380"/>
                    </a:cubicBezTo>
                    <a:cubicBezTo>
                      <a:pt x="2989" y="429"/>
                      <a:pt x="2989" y="429"/>
                      <a:pt x="2989" y="429"/>
                    </a:cubicBezTo>
                    <a:cubicBezTo>
                      <a:pt x="2986" y="442"/>
                      <a:pt x="2984" y="456"/>
                      <a:pt x="2984" y="471"/>
                    </a:cubicBezTo>
                    <a:cubicBezTo>
                      <a:pt x="2984" y="539"/>
                      <a:pt x="3026" y="597"/>
                      <a:pt x="3085" y="622"/>
                    </a:cubicBezTo>
                    <a:cubicBezTo>
                      <a:pt x="3029" y="789"/>
                      <a:pt x="3029" y="789"/>
                      <a:pt x="3029" y="789"/>
                    </a:cubicBezTo>
                    <a:cubicBezTo>
                      <a:pt x="3026" y="788"/>
                      <a:pt x="3023" y="788"/>
                      <a:pt x="3020" y="788"/>
                    </a:cubicBezTo>
                    <a:cubicBezTo>
                      <a:pt x="2995" y="788"/>
                      <a:pt x="2975" y="808"/>
                      <a:pt x="2975" y="833"/>
                    </a:cubicBezTo>
                    <a:cubicBezTo>
                      <a:pt x="2975" y="857"/>
                      <a:pt x="2995" y="878"/>
                      <a:pt x="3020" y="878"/>
                    </a:cubicBezTo>
                    <a:cubicBezTo>
                      <a:pt x="3045" y="878"/>
                      <a:pt x="3065" y="857"/>
                      <a:pt x="3065" y="833"/>
                    </a:cubicBezTo>
                    <a:cubicBezTo>
                      <a:pt x="3065" y="817"/>
                      <a:pt x="3057" y="803"/>
                      <a:pt x="3044" y="795"/>
                    </a:cubicBezTo>
                    <a:cubicBezTo>
                      <a:pt x="3100" y="627"/>
                      <a:pt x="3100" y="627"/>
                      <a:pt x="3100" y="627"/>
                    </a:cubicBezTo>
                    <a:cubicBezTo>
                      <a:pt x="3115" y="631"/>
                      <a:pt x="3131" y="634"/>
                      <a:pt x="3147" y="634"/>
                    </a:cubicBezTo>
                    <a:cubicBezTo>
                      <a:pt x="3198" y="634"/>
                      <a:pt x="3243" y="611"/>
                      <a:pt x="3273" y="575"/>
                    </a:cubicBezTo>
                    <a:cubicBezTo>
                      <a:pt x="3459" y="656"/>
                      <a:pt x="3459" y="656"/>
                      <a:pt x="3459" y="656"/>
                    </a:cubicBezTo>
                    <a:cubicBezTo>
                      <a:pt x="3457" y="662"/>
                      <a:pt x="3456" y="669"/>
                      <a:pt x="3456" y="675"/>
                    </a:cubicBezTo>
                    <a:cubicBezTo>
                      <a:pt x="3456" y="722"/>
                      <a:pt x="3494" y="759"/>
                      <a:pt x="3540" y="759"/>
                    </a:cubicBezTo>
                    <a:cubicBezTo>
                      <a:pt x="3587" y="759"/>
                      <a:pt x="3624" y="722"/>
                      <a:pt x="3624" y="675"/>
                    </a:cubicBezTo>
                    <a:cubicBezTo>
                      <a:pt x="3624" y="629"/>
                      <a:pt x="3587" y="591"/>
                      <a:pt x="3540" y="591"/>
                    </a:cubicBezTo>
                    <a:cubicBezTo>
                      <a:pt x="3506" y="591"/>
                      <a:pt x="3477" y="612"/>
                      <a:pt x="3464" y="641"/>
                    </a:cubicBezTo>
                    <a:cubicBezTo>
                      <a:pt x="3283" y="562"/>
                      <a:pt x="3283" y="562"/>
                      <a:pt x="3283" y="562"/>
                    </a:cubicBezTo>
                    <a:cubicBezTo>
                      <a:pt x="3300" y="536"/>
                      <a:pt x="3311" y="504"/>
                      <a:pt x="3311" y="471"/>
                    </a:cubicBezTo>
                    <a:cubicBezTo>
                      <a:pt x="3311" y="460"/>
                      <a:pt x="3310" y="450"/>
                      <a:pt x="3308" y="440"/>
                    </a:cubicBezTo>
                    <a:cubicBezTo>
                      <a:pt x="3401" y="429"/>
                      <a:pt x="3401" y="429"/>
                      <a:pt x="3401" y="429"/>
                    </a:cubicBezTo>
                    <a:cubicBezTo>
                      <a:pt x="3408" y="445"/>
                      <a:pt x="3424" y="456"/>
                      <a:pt x="3442" y="456"/>
                    </a:cubicBezTo>
                    <a:cubicBezTo>
                      <a:pt x="3467" y="456"/>
                      <a:pt x="3487" y="435"/>
                      <a:pt x="3487" y="411"/>
                    </a:cubicBezTo>
                    <a:cubicBezTo>
                      <a:pt x="3487" y="400"/>
                      <a:pt x="3483" y="390"/>
                      <a:pt x="3477" y="382"/>
                    </a:cubicBezTo>
                    <a:cubicBezTo>
                      <a:pt x="3551" y="280"/>
                      <a:pt x="3551" y="280"/>
                      <a:pt x="3551" y="280"/>
                    </a:cubicBezTo>
                    <a:cubicBezTo>
                      <a:pt x="3571" y="291"/>
                      <a:pt x="3594" y="298"/>
                      <a:pt x="3618" y="298"/>
                    </a:cubicBezTo>
                    <a:cubicBezTo>
                      <a:pt x="3662" y="298"/>
                      <a:pt x="3702" y="277"/>
                      <a:pt x="3726" y="244"/>
                    </a:cubicBezTo>
                    <a:cubicBezTo>
                      <a:pt x="3856" y="333"/>
                      <a:pt x="3856" y="333"/>
                      <a:pt x="3856" y="333"/>
                    </a:cubicBezTo>
                    <a:cubicBezTo>
                      <a:pt x="3850" y="344"/>
                      <a:pt x="3846" y="357"/>
                      <a:pt x="3846" y="371"/>
                    </a:cubicBezTo>
                    <a:cubicBezTo>
                      <a:pt x="3846" y="418"/>
                      <a:pt x="3884" y="455"/>
                      <a:pt x="3930" y="455"/>
                    </a:cubicBezTo>
                    <a:cubicBezTo>
                      <a:pt x="3977" y="455"/>
                      <a:pt x="4014" y="418"/>
                      <a:pt x="4014" y="371"/>
                    </a:cubicBezTo>
                    <a:cubicBezTo>
                      <a:pt x="4014" y="325"/>
                      <a:pt x="3977" y="287"/>
                      <a:pt x="3930" y="287"/>
                    </a:cubicBezTo>
                    <a:close/>
                    <a:moveTo>
                      <a:pt x="2796" y="42"/>
                    </a:moveTo>
                    <a:cubicBezTo>
                      <a:pt x="2808" y="42"/>
                      <a:pt x="2818" y="52"/>
                      <a:pt x="2818" y="65"/>
                    </a:cubicBezTo>
                    <a:cubicBezTo>
                      <a:pt x="2818" y="77"/>
                      <a:pt x="2808" y="87"/>
                      <a:pt x="2796" y="87"/>
                    </a:cubicBezTo>
                    <a:cubicBezTo>
                      <a:pt x="2784" y="87"/>
                      <a:pt x="2774" y="77"/>
                      <a:pt x="2774" y="65"/>
                    </a:cubicBezTo>
                    <a:cubicBezTo>
                      <a:pt x="2774" y="52"/>
                      <a:pt x="2784" y="42"/>
                      <a:pt x="2796" y="42"/>
                    </a:cubicBezTo>
                    <a:close/>
                    <a:moveTo>
                      <a:pt x="2536" y="134"/>
                    </a:moveTo>
                    <a:cubicBezTo>
                      <a:pt x="2536" y="125"/>
                      <a:pt x="2543" y="118"/>
                      <a:pt x="2552" y="118"/>
                    </a:cubicBezTo>
                    <a:cubicBezTo>
                      <a:pt x="2561" y="118"/>
                      <a:pt x="2569" y="125"/>
                      <a:pt x="2569" y="134"/>
                    </a:cubicBezTo>
                    <a:cubicBezTo>
                      <a:pt x="2569" y="143"/>
                      <a:pt x="2561" y="150"/>
                      <a:pt x="2552" y="150"/>
                    </a:cubicBezTo>
                    <a:cubicBezTo>
                      <a:pt x="2543" y="150"/>
                      <a:pt x="2536" y="143"/>
                      <a:pt x="2536" y="134"/>
                    </a:cubicBezTo>
                    <a:close/>
                    <a:moveTo>
                      <a:pt x="1378" y="202"/>
                    </a:moveTo>
                    <a:cubicBezTo>
                      <a:pt x="1390" y="202"/>
                      <a:pt x="1400" y="212"/>
                      <a:pt x="1400" y="225"/>
                    </a:cubicBezTo>
                    <a:cubicBezTo>
                      <a:pt x="1400" y="237"/>
                      <a:pt x="1390" y="247"/>
                      <a:pt x="1378" y="247"/>
                    </a:cubicBezTo>
                    <a:cubicBezTo>
                      <a:pt x="1366" y="247"/>
                      <a:pt x="1356" y="237"/>
                      <a:pt x="1356" y="225"/>
                    </a:cubicBezTo>
                    <a:cubicBezTo>
                      <a:pt x="1356" y="212"/>
                      <a:pt x="1366" y="202"/>
                      <a:pt x="1378" y="202"/>
                    </a:cubicBezTo>
                    <a:close/>
                    <a:moveTo>
                      <a:pt x="744" y="45"/>
                    </a:moveTo>
                    <a:cubicBezTo>
                      <a:pt x="744" y="32"/>
                      <a:pt x="754" y="22"/>
                      <a:pt x="766" y="22"/>
                    </a:cubicBezTo>
                    <a:cubicBezTo>
                      <a:pt x="778" y="22"/>
                      <a:pt x="788" y="32"/>
                      <a:pt x="788" y="45"/>
                    </a:cubicBezTo>
                    <a:cubicBezTo>
                      <a:pt x="788" y="57"/>
                      <a:pt x="778" y="67"/>
                      <a:pt x="766" y="67"/>
                    </a:cubicBezTo>
                    <a:cubicBezTo>
                      <a:pt x="754" y="67"/>
                      <a:pt x="744" y="57"/>
                      <a:pt x="744" y="45"/>
                    </a:cubicBezTo>
                    <a:close/>
                    <a:moveTo>
                      <a:pt x="84" y="166"/>
                    </a:moveTo>
                    <a:cubicBezTo>
                      <a:pt x="61" y="166"/>
                      <a:pt x="42" y="147"/>
                      <a:pt x="42" y="123"/>
                    </a:cubicBezTo>
                    <a:cubicBezTo>
                      <a:pt x="42" y="100"/>
                      <a:pt x="61" y="81"/>
                      <a:pt x="84" y="81"/>
                    </a:cubicBezTo>
                    <a:cubicBezTo>
                      <a:pt x="108" y="81"/>
                      <a:pt x="127" y="100"/>
                      <a:pt x="127" y="123"/>
                    </a:cubicBezTo>
                    <a:cubicBezTo>
                      <a:pt x="127" y="147"/>
                      <a:pt x="108" y="166"/>
                      <a:pt x="84" y="166"/>
                    </a:cubicBezTo>
                    <a:close/>
                    <a:moveTo>
                      <a:pt x="214" y="593"/>
                    </a:moveTo>
                    <a:cubicBezTo>
                      <a:pt x="199" y="593"/>
                      <a:pt x="188" y="581"/>
                      <a:pt x="188" y="567"/>
                    </a:cubicBezTo>
                    <a:cubicBezTo>
                      <a:pt x="188" y="552"/>
                      <a:pt x="199" y="540"/>
                      <a:pt x="214" y="540"/>
                    </a:cubicBezTo>
                    <a:cubicBezTo>
                      <a:pt x="229" y="540"/>
                      <a:pt x="240" y="552"/>
                      <a:pt x="240" y="567"/>
                    </a:cubicBezTo>
                    <a:cubicBezTo>
                      <a:pt x="240" y="581"/>
                      <a:pt x="229" y="593"/>
                      <a:pt x="214" y="593"/>
                    </a:cubicBezTo>
                    <a:close/>
                    <a:moveTo>
                      <a:pt x="388" y="385"/>
                    </a:moveTo>
                    <a:cubicBezTo>
                      <a:pt x="330" y="385"/>
                      <a:pt x="282" y="339"/>
                      <a:pt x="282" y="282"/>
                    </a:cubicBezTo>
                    <a:cubicBezTo>
                      <a:pt x="282" y="225"/>
                      <a:pt x="330" y="179"/>
                      <a:pt x="388" y="179"/>
                    </a:cubicBezTo>
                    <a:cubicBezTo>
                      <a:pt x="447" y="179"/>
                      <a:pt x="494" y="225"/>
                      <a:pt x="494" y="282"/>
                    </a:cubicBezTo>
                    <a:cubicBezTo>
                      <a:pt x="494" y="339"/>
                      <a:pt x="447" y="385"/>
                      <a:pt x="388" y="385"/>
                    </a:cubicBezTo>
                    <a:close/>
                    <a:moveTo>
                      <a:pt x="706" y="423"/>
                    </a:moveTo>
                    <a:cubicBezTo>
                      <a:pt x="691" y="423"/>
                      <a:pt x="680" y="411"/>
                      <a:pt x="680" y="397"/>
                    </a:cubicBezTo>
                    <a:cubicBezTo>
                      <a:pt x="680" y="382"/>
                      <a:pt x="691" y="370"/>
                      <a:pt x="706" y="370"/>
                    </a:cubicBezTo>
                    <a:cubicBezTo>
                      <a:pt x="721" y="370"/>
                      <a:pt x="732" y="382"/>
                      <a:pt x="732" y="397"/>
                    </a:cubicBezTo>
                    <a:cubicBezTo>
                      <a:pt x="732" y="411"/>
                      <a:pt x="721" y="423"/>
                      <a:pt x="706" y="423"/>
                    </a:cubicBezTo>
                    <a:close/>
                    <a:moveTo>
                      <a:pt x="902" y="298"/>
                    </a:moveTo>
                    <a:cubicBezTo>
                      <a:pt x="866" y="298"/>
                      <a:pt x="837" y="269"/>
                      <a:pt x="837" y="233"/>
                    </a:cubicBezTo>
                    <a:cubicBezTo>
                      <a:pt x="837" y="197"/>
                      <a:pt x="866" y="168"/>
                      <a:pt x="902" y="168"/>
                    </a:cubicBezTo>
                    <a:cubicBezTo>
                      <a:pt x="938" y="168"/>
                      <a:pt x="967" y="197"/>
                      <a:pt x="967" y="233"/>
                    </a:cubicBezTo>
                    <a:cubicBezTo>
                      <a:pt x="967" y="269"/>
                      <a:pt x="938" y="298"/>
                      <a:pt x="902" y="298"/>
                    </a:cubicBezTo>
                    <a:close/>
                    <a:moveTo>
                      <a:pt x="1028" y="611"/>
                    </a:moveTo>
                    <a:cubicBezTo>
                      <a:pt x="1016" y="611"/>
                      <a:pt x="1006" y="601"/>
                      <a:pt x="1006" y="589"/>
                    </a:cubicBezTo>
                    <a:cubicBezTo>
                      <a:pt x="1006" y="576"/>
                      <a:pt x="1016" y="566"/>
                      <a:pt x="1028" y="566"/>
                    </a:cubicBezTo>
                    <a:cubicBezTo>
                      <a:pt x="1040" y="566"/>
                      <a:pt x="1050" y="576"/>
                      <a:pt x="1050" y="589"/>
                    </a:cubicBezTo>
                    <a:cubicBezTo>
                      <a:pt x="1050" y="601"/>
                      <a:pt x="1040" y="611"/>
                      <a:pt x="1028" y="611"/>
                    </a:cubicBezTo>
                    <a:close/>
                    <a:moveTo>
                      <a:pt x="1408" y="711"/>
                    </a:moveTo>
                    <a:cubicBezTo>
                      <a:pt x="1408" y="723"/>
                      <a:pt x="1398" y="733"/>
                      <a:pt x="1386" y="733"/>
                    </a:cubicBezTo>
                    <a:cubicBezTo>
                      <a:pt x="1374" y="733"/>
                      <a:pt x="1364" y="723"/>
                      <a:pt x="1364" y="711"/>
                    </a:cubicBezTo>
                    <a:cubicBezTo>
                      <a:pt x="1364" y="698"/>
                      <a:pt x="1374" y="688"/>
                      <a:pt x="1386" y="688"/>
                    </a:cubicBezTo>
                    <a:cubicBezTo>
                      <a:pt x="1398" y="688"/>
                      <a:pt x="1408" y="698"/>
                      <a:pt x="1408" y="711"/>
                    </a:cubicBezTo>
                    <a:close/>
                    <a:moveTo>
                      <a:pt x="1279" y="595"/>
                    </a:moveTo>
                    <a:cubicBezTo>
                      <a:pt x="1230" y="595"/>
                      <a:pt x="1190" y="555"/>
                      <a:pt x="1190" y="506"/>
                    </a:cubicBezTo>
                    <a:cubicBezTo>
                      <a:pt x="1190" y="456"/>
                      <a:pt x="1230" y="416"/>
                      <a:pt x="1279" y="416"/>
                    </a:cubicBezTo>
                    <a:cubicBezTo>
                      <a:pt x="1328" y="416"/>
                      <a:pt x="1368" y="456"/>
                      <a:pt x="1368" y="506"/>
                    </a:cubicBezTo>
                    <a:cubicBezTo>
                      <a:pt x="1368" y="555"/>
                      <a:pt x="1328" y="595"/>
                      <a:pt x="1279" y="595"/>
                    </a:cubicBezTo>
                    <a:close/>
                    <a:moveTo>
                      <a:pt x="2005" y="866"/>
                    </a:moveTo>
                    <a:cubicBezTo>
                      <a:pt x="1885" y="866"/>
                      <a:pt x="1788" y="769"/>
                      <a:pt x="1788" y="649"/>
                    </a:cubicBezTo>
                    <a:cubicBezTo>
                      <a:pt x="1788" y="529"/>
                      <a:pt x="1885" y="432"/>
                      <a:pt x="2005" y="432"/>
                    </a:cubicBezTo>
                    <a:cubicBezTo>
                      <a:pt x="2125" y="432"/>
                      <a:pt x="2222" y="529"/>
                      <a:pt x="2222" y="649"/>
                    </a:cubicBezTo>
                    <a:cubicBezTo>
                      <a:pt x="2222" y="769"/>
                      <a:pt x="2125" y="866"/>
                      <a:pt x="2005" y="866"/>
                    </a:cubicBezTo>
                    <a:close/>
                    <a:moveTo>
                      <a:pt x="2835" y="611"/>
                    </a:moveTo>
                    <a:cubicBezTo>
                      <a:pt x="2835" y="635"/>
                      <a:pt x="2816" y="654"/>
                      <a:pt x="2792" y="654"/>
                    </a:cubicBezTo>
                    <a:cubicBezTo>
                      <a:pt x="2769" y="654"/>
                      <a:pt x="2750" y="635"/>
                      <a:pt x="2750" y="611"/>
                    </a:cubicBezTo>
                    <a:cubicBezTo>
                      <a:pt x="2750" y="588"/>
                      <a:pt x="2769" y="569"/>
                      <a:pt x="2792" y="569"/>
                    </a:cubicBezTo>
                    <a:cubicBezTo>
                      <a:pt x="2816" y="569"/>
                      <a:pt x="2835" y="588"/>
                      <a:pt x="2835" y="611"/>
                    </a:cubicBezTo>
                    <a:close/>
                    <a:moveTo>
                      <a:pt x="2685" y="413"/>
                    </a:moveTo>
                    <a:cubicBezTo>
                      <a:pt x="2635" y="413"/>
                      <a:pt x="2594" y="372"/>
                      <a:pt x="2594" y="321"/>
                    </a:cubicBezTo>
                    <a:cubicBezTo>
                      <a:pt x="2594" y="271"/>
                      <a:pt x="2635" y="230"/>
                      <a:pt x="2685" y="230"/>
                    </a:cubicBezTo>
                    <a:cubicBezTo>
                      <a:pt x="2736" y="230"/>
                      <a:pt x="2777" y="271"/>
                      <a:pt x="2777" y="321"/>
                    </a:cubicBezTo>
                    <a:cubicBezTo>
                      <a:pt x="2777" y="372"/>
                      <a:pt x="2736" y="413"/>
                      <a:pt x="2685" y="413"/>
                    </a:cubicBezTo>
                    <a:close/>
                    <a:moveTo>
                      <a:pt x="3020" y="855"/>
                    </a:moveTo>
                    <a:cubicBezTo>
                      <a:pt x="3008" y="855"/>
                      <a:pt x="2998" y="845"/>
                      <a:pt x="2998" y="833"/>
                    </a:cubicBezTo>
                    <a:cubicBezTo>
                      <a:pt x="2998" y="820"/>
                      <a:pt x="3008" y="810"/>
                      <a:pt x="3020" y="810"/>
                    </a:cubicBezTo>
                    <a:cubicBezTo>
                      <a:pt x="3032" y="810"/>
                      <a:pt x="3042" y="820"/>
                      <a:pt x="3042" y="833"/>
                    </a:cubicBezTo>
                    <a:cubicBezTo>
                      <a:pt x="3042" y="845"/>
                      <a:pt x="3032" y="855"/>
                      <a:pt x="3020" y="855"/>
                    </a:cubicBezTo>
                    <a:close/>
                    <a:moveTo>
                      <a:pt x="3147" y="564"/>
                    </a:moveTo>
                    <a:cubicBezTo>
                      <a:pt x="3094" y="564"/>
                      <a:pt x="3051" y="521"/>
                      <a:pt x="3051" y="468"/>
                    </a:cubicBezTo>
                    <a:cubicBezTo>
                      <a:pt x="3051" y="415"/>
                      <a:pt x="3094" y="372"/>
                      <a:pt x="3147" y="372"/>
                    </a:cubicBezTo>
                    <a:cubicBezTo>
                      <a:pt x="3200" y="372"/>
                      <a:pt x="3243" y="415"/>
                      <a:pt x="3243" y="468"/>
                    </a:cubicBezTo>
                    <a:cubicBezTo>
                      <a:pt x="3243" y="521"/>
                      <a:pt x="3200" y="564"/>
                      <a:pt x="3147" y="564"/>
                    </a:cubicBezTo>
                    <a:close/>
                    <a:moveTo>
                      <a:pt x="3540" y="633"/>
                    </a:moveTo>
                    <a:cubicBezTo>
                      <a:pt x="3564" y="633"/>
                      <a:pt x="3583" y="652"/>
                      <a:pt x="3583" y="675"/>
                    </a:cubicBezTo>
                    <a:cubicBezTo>
                      <a:pt x="3583" y="699"/>
                      <a:pt x="3564" y="718"/>
                      <a:pt x="3540" y="718"/>
                    </a:cubicBezTo>
                    <a:cubicBezTo>
                      <a:pt x="3517" y="718"/>
                      <a:pt x="3498" y="699"/>
                      <a:pt x="3498" y="675"/>
                    </a:cubicBezTo>
                    <a:cubicBezTo>
                      <a:pt x="3498" y="652"/>
                      <a:pt x="3517" y="633"/>
                      <a:pt x="3540" y="633"/>
                    </a:cubicBezTo>
                    <a:close/>
                    <a:moveTo>
                      <a:pt x="3442" y="433"/>
                    </a:moveTo>
                    <a:cubicBezTo>
                      <a:pt x="3430" y="433"/>
                      <a:pt x="3420" y="423"/>
                      <a:pt x="3420" y="411"/>
                    </a:cubicBezTo>
                    <a:cubicBezTo>
                      <a:pt x="3420" y="398"/>
                      <a:pt x="3430" y="388"/>
                      <a:pt x="3442" y="388"/>
                    </a:cubicBezTo>
                    <a:cubicBezTo>
                      <a:pt x="3454" y="388"/>
                      <a:pt x="3464" y="398"/>
                      <a:pt x="3464" y="411"/>
                    </a:cubicBezTo>
                    <a:cubicBezTo>
                      <a:pt x="3464" y="423"/>
                      <a:pt x="3454" y="433"/>
                      <a:pt x="3442" y="433"/>
                    </a:cubicBezTo>
                    <a:close/>
                    <a:moveTo>
                      <a:pt x="3618" y="240"/>
                    </a:moveTo>
                    <a:cubicBezTo>
                      <a:pt x="3575" y="240"/>
                      <a:pt x="3539" y="205"/>
                      <a:pt x="3539" y="161"/>
                    </a:cubicBezTo>
                    <a:cubicBezTo>
                      <a:pt x="3539" y="117"/>
                      <a:pt x="3575" y="82"/>
                      <a:pt x="3618" y="82"/>
                    </a:cubicBezTo>
                    <a:cubicBezTo>
                      <a:pt x="3662" y="82"/>
                      <a:pt x="3697" y="117"/>
                      <a:pt x="3697" y="161"/>
                    </a:cubicBezTo>
                    <a:cubicBezTo>
                      <a:pt x="3697" y="205"/>
                      <a:pt x="3662" y="240"/>
                      <a:pt x="3618" y="240"/>
                    </a:cubicBezTo>
                    <a:close/>
                    <a:moveTo>
                      <a:pt x="3930" y="414"/>
                    </a:moveTo>
                    <a:cubicBezTo>
                      <a:pt x="3907" y="414"/>
                      <a:pt x="3888" y="395"/>
                      <a:pt x="3888" y="371"/>
                    </a:cubicBezTo>
                    <a:cubicBezTo>
                      <a:pt x="3888" y="348"/>
                      <a:pt x="3907" y="329"/>
                      <a:pt x="3930" y="329"/>
                    </a:cubicBezTo>
                    <a:cubicBezTo>
                      <a:pt x="3954" y="329"/>
                      <a:pt x="3973" y="348"/>
                      <a:pt x="3973" y="371"/>
                    </a:cubicBezTo>
                    <a:cubicBezTo>
                      <a:pt x="3973" y="395"/>
                      <a:pt x="3954" y="414"/>
                      <a:pt x="3930" y="4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" name="Oval 6"/>
              <p:cNvSpPr>
                <a:spLocks noChangeArrowheads="1"/>
              </p:cNvSpPr>
              <p:nvPr userDrawn="1"/>
            </p:nvSpPr>
            <p:spPr bwMode="auto">
              <a:xfrm>
                <a:off x="5694363" y="4705350"/>
                <a:ext cx="782638" cy="781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15" name="Rechteck 14"/>
            <p:cNvSpPr/>
            <p:nvPr userDrawn="1"/>
          </p:nvSpPr>
          <p:spPr>
            <a:xfrm>
              <a:off x="0" y="0"/>
              <a:ext cx="12296726" cy="6858000"/>
            </a:xfrm>
            <a:prstGeom prst="rect">
              <a:avLst/>
            </a:prstGeom>
            <a:gradFill flip="none" rotWithShape="0">
              <a:gsLst>
                <a:gs pos="0">
                  <a:schemeClr val="tx1">
                    <a:alpha val="90000"/>
                  </a:schemeClr>
                </a:gs>
                <a:gs pos="50000">
                  <a:schemeClr val="tx1">
                    <a:lumMod val="85000"/>
                    <a:lumOff val="15000"/>
                    <a:alpha val="50000"/>
                  </a:schemeClr>
                </a:gs>
                <a:gs pos="100000">
                  <a:schemeClr val="tx1">
                    <a:lumMod val="65000"/>
                    <a:lumOff val="3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-12138" y="5805488"/>
              <a:ext cx="12202551" cy="1052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9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44376" y="4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20" name="Textplatzhalt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044376" y="3741445"/>
            <a:ext cx="10101664" cy="2061759"/>
          </a:xfrm>
        </p:spPr>
        <p:txBody>
          <a:bodyPr vert="horz" lIns="10798" tIns="0" rIns="0" bIns="0" rtlCol="0" anchor="t" anchorCtr="0">
            <a:noAutofit/>
          </a:bodyPr>
          <a:lstStyle>
            <a:lvl1pPr>
              <a:defRPr lang="de-DE" sz="4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80000"/>
              </a:lnSpc>
              <a:buNone/>
            </a:pPr>
            <a:r>
              <a:rPr lang="de-DE" dirty="0"/>
              <a:t>SUBTITL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466C0FC-CAB3-4344-BDB4-EE734BE529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65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 userDrawn="1"/>
        </p:nvGrpSpPr>
        <p:grpSpPr>
          <a:xfrm>
            <a:off x="-12138" y="0"/>
            <a:ext cx="12864360" cy="6858000"/>
            <a:chOff x="-12138" y="0"/>
            <a:chExt cx="12864360" cy="6858000"/>
          </a:xfrm>
        </p:grpSpPr>
        <p:sp>
          <p:nvSpPr>
            <p:cNvPr id="30" name="Rechteck 29"/>
            <p:cNvSpPr/>
            <p:nvPr userDrawn="1"/>
          </p:nvSpPr>
          <p:spPr>
            <a:xfrm>
              <a:off x="-12138" y="0"/>
              <a:ext cx="12202556" cy="68580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3" name="Gruppieren 22"/>
            <p:cNvGrpSpPr/>
            <p:nvPr userDrawn="1"/>
          </p:nvGrpSpPr>
          <p:grpSpPr>
            <a:xfrm>
              <a:off x="-12138" y="0"/>
              <a:ext cx="12864360" cy="6858000"/>
              <a:chOff x="0" y="0"/>
              <a:chExt cx="12864360" cy="6858000"/>
            </a:xfrm>
          </p:grpSpPr>
          <p:grpSp>
            <p:nvGrpSpPr>
              <p:cNvPr id="24" name="Gruppieren 23"/>
              <p:cNvGrpSpPr/>
              <p:nvPr userDrawn="1"/>
            </p:nvGrpSpPr>
            <p:grpSpPr>
              <a:xfrm rot="20232963">
                <a:off x="115147" y="2823987"/>
                <a:ext cx="12749213" cy="3163887"/>
                <a:chOff x="-276225" y="3046413"/>
                <a:chExt cx="12749213" cy="3163887"/>
              </a:xfrm>
              <a:solidFill>
                <a:schemeClr val="bg1"/>
              </a:solidFill>
            </p:grpSpPr>
            <p:sp>
              <p:nvSpPr>
                <p:cNvPr id="26" name="Oval 6"/>
                <p:cNvSpPr>
                  <a:spLocks noChangeArrowheads="1"/>
                </p:cNvSpPr>
                <p:nvPr userDrawn="1"/>
              </p:nvSpPr>
              <p:spPr bwMode="auto">
                <a:xfrm>
                  <a:off x="5694363" y="4705350"/>
                  <a:ext cx="782638" cy="7810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" name="Freeform 7"/>
                <p:cNvSpPr>
                  <a:spLocks noEditPoints="1"/>
                </p:cNvSpPr>
                <p:nvPr userDrawn="1"/>
              </p:nvSpPr>
              <p:spPr bwMode="auto">
                <a:xfrm>
                  <a:off x="-276225" y="3046413"/>
                  <a:ext cx="12749213" cy="3163887"/>
                </a:xfrm>
                <a:custGeom>
                  <a:avLst/>
                  <a:gdLst>
                    <a:gd name="T0" fmla="*/ 3618 w 4014"/>
                    <a:gd name="T1" fmla="*/ 28 h 996"/>
                    <a:gd name="T2" fmla="*/ 3397 w 4014"/>
                    <a:gd name="T3" fmla="*/ 411 h 996"/>
                    <a:gd name="T4" fmla="*/ 2836 w 4014"/>
                    <a:gd name="T5" fmla="*/ 365 h 996"/>
                    <a:gd name="T6" fmla="*/ 2841 w 4014"/>
                    <a:gd name="T7" fmla="*/ 65 h 996"/>
                    <a:gd name="T8" fmla="*/ 2685 w 4014"/>
                    <a:gd name="T9" fmla="*/ 168 h 996"/>
                    <a:gd name="T10" fmla="*/ 2523 w 4014"/>
                    <a:gd name="T11" fmla="*/ 134 h 996"/>
                    <a:gd name="T12" fmla="*/ 2553 w 4014"/>
                    <a:gd name="T13" fmla="*/ 407 h 996"/>
                    <a:gd name="T14" fmla="*/ 1431 w 4014"/>
                    <a:gd name="T15" fmla="*/ 508 h 996"/>
                    <a:gd name="T16" fmla="*/ 1378 w 4014"/>
                    <a:gd name="T17" fmla="*/ 180 h 996"/>
                    <a:gd name="T18" fmla="*/ 1149 w 4014"/>
                    <a:gd name="T19" fmla="*/ 430 h 996"/>
                    <a:gd name="T20" fmla="*/ 794 w 4014"/>
                    <a:gd name="T21" fmla="*/ 80 h 996"/>
                    <a:gd name="T22" fmla="*/ 780 w 4014"/>
                    <a:gd name="T23" fmla="*/ 87 h 996"/>
                    <a:gd name="T24" fmla="*/ 706 w 4014"/>
                    <a:gd name="T25" fmla="*/ 344 h 996"/>
                    <a:gd name="T26" fmla="*/ 231 w 4014"/>
                    <a:gd name="T27" fmla="*/ 199 h 996"/>
                    <a:gd name="T28" fmla="*/ 84 w 4014"/>
                    <a:gd name="T29" fmla="*/ 207 h 996"/>
                    <a:gd name="T30" fmla="*/ 230 w 4014"/>
                    <a:gd name="T31" fmla="*/ 516 h 996"/>
                    <a:gd name="T32" fmla="*/ 244 w 4014"/>
                    <a:gd name="T33" fmla="*/ 523 h 996"/>
                    <a:gd name="T34" fmla="*/ 653 w 4014"/>
                    <a:gd name="T35" fmla="*/ 397 h 996"/>
                    <a:gd name="T36" fmla="*/ 902 w 4014"/>
                    <a:gd name="T37" fmla="*/ 346 h 996"/>
                    <a:gd name="T38" fmla="*/ 1068 w 4014"/>
                    <a:gd name="T39" fmla="*/ 567 h 996"/>
                    <a:gd name="T40" fmla="*/ 1073 w 4014"/>
                    <a:gd name="T41" fmla="*/ 583 h 996"/>
                    <a:gd name="T42" fmla="*/ 1341 w 4014"/>
                    <a:gd name="T43" fmla="*/ 711 h 996"/>
                    <a:gd name="T44" fmla="*/ 1353 w 4014"/>
                    <a:gd name="T45" fmla="*/ 641 h 996"/>
                    <a:gd name="T46" fmla="*/ 2350 w 4014"/>
                    <a:gd name="T47" fmla="*/ 651 h 996"/>
                    <a:gd name="T48" fmla="*/ 2757 w 4014"/>
                    <a:gd name="T49" fmla="*/ 535 h 996"/>
                    <a:gd name="T50" fmla="*/ 2773 w 4014"/>
                    <a:gd name="T51" fmla="*/ 530 h 996"/>
                    <a:gd name="T52" fmla="*/ 3085 w 4014"/>
                    <a:gd name="T53" fmla="*/ 622 h 996"/>
                    <a:gd name="T54" fmla="*/ 3065 w 4014"/>
                    <a:gd name="T55" fmla="*/ 833 h 996"/>
                    <a:gd name="T56" fmla="*/ 3459 w 4014"/>
                    <a:gd name="T57" fmla="*/ 656 h 996"/>
                    <a:gd name="T58" fmla="*/ 3464 w 4014"/>
                    <a:gd name="T59" fmla="*/ 641 h 996"/>
                    <a:gd name="T60" fmla="*/ 3442 w 4014"/>
                    <a:gd name="T61" fmla="*/ 456 h 996"/>
                    <a:gd name="T62" fmla="*/ 3726 w 4014"/>
                    <a:gd name="T63" fmla="*/ 244 h 996"/>
                    <a:gd name="T64" fmla="*/ 3930 w 4014"/>
                    <a:gd name="T65" fmla="*/ 287 h 996"/>
                    <a:gd name="T66" fmla="*/ 2796 w 4014"/>
                    <a:gd name="T67" fmla="*/ 42 h 996"/>
                    <a:gd name="T68" fmla="*/ 2536 w 4014"/>
                    <a:gd name="T69" fmla="*/ 134 h 996"/>
                    <a:gd name="T70" fmla="*/ 1378 w 4014"/>
                    <a:gd name="T71" fmla="*/ 202 h 996"/>
                    <a:gd name="T72" fmla="*/ 744 w 4014"/>
                    <a:gd name="T73" fmla="*/ 45 h 996"/>
                    <a:gd name="T74" fmla="*/ 84 w 4014"/>
                    <a:gd name="T75" fmla="*/ 166 h 996"/>
                    <a:gd name="T76" fmla="*/ 214 w 4014"/>
                    <a:gd name="T77" fmla="*/ 593 h 996"/>
                    <a:gd name="T78" fmla="*/ 388 w 4014"/>
                    <a:gd name="T79" fmla="*/ 385 h 996"/>
                    <a:gd name="T80" fmla="*/ 706 w 4014"/>
                    <a:gd name="T81" fmla="*/ 423 h 996"/>
                    <a:gd name="T82" fmla="*/ 902 w 4014"/>
                    <a:gd name="T83" fmla="*/ 298 h 996"/>
                    <a:gd name="T84" fmla="*/ 1028 w 4014"/>
                    <a:gd name="T85" fmla="*/ 611 h 996"/>
                    <a:gd name="T86" fmla="*/ 1408 w 4014"/>
                    <a:gd name="T87" fmla="*/ 711 h 996"/>
                    <a:gd name="T88" fmla="*/ 1279 w 4014"/>
                    <a:gd name="T89" fmla="*/ 595 h 996"/>
                    <a:gd name="T90" fmla="*/ 2005 w 4014"/>
                    <a:gd name="T91" fmla="*/ 866 h 996"/>
                    <a:gd name="T92" fmla="*/ 2835 w 4014"/>
                    <a:gd name="T93" fmla="*/ 611 h 996"/>
                    <a:gd name="T94" fmla="*/ 2685 w 4014"/>
                    <a:gd name="T95" fmla="*/ 413 h 996"/>
                    <a:gd name="T96" fmla="*/ 3020 w 4014"/>
                    <a:gd name="T97" fmla="*/ 855 h 996"/>
                    <a:gd name="T98" fmla="*/ 3147 w 4014"/>
                    <a:gd name="T99" fmla="*/ 564 h 996"/>
                    <a:gd name="T100" fmla="*/ 3540 w 4014"/>
                    <a:gd name="T101" fmla="*/ 633 h 996"/>
                    <a:gd name="T102" fmla="*/ 3442 w 4014"/>
                    <a:gd name="T103" fmla="*/ 433 h 996"/>
                    <a:gd name="T104" fmla="*/ 3618 w 4014"/>
                    <a:gd name="T105" fmla="*/ 240 h 996"/>
                    <a:gd name="T106" fmla="*/ 3930 w 4014"/>
                    <a:gd name="T107" fmla="*/ 414 h 9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014" h="996">
                      <a:moveTo>
                        <a:pt x="3930" y="287"/>
                      </a:moveTo>
                      <a:cubicBezTo>
                        <a:pt x="3903" y="287"/>
                        <a:pt x="3880" y="300"/>
                        <a:pt x="3864" y="320"/>
                      </a:cubicBezTo>
                      <a:cubicBezTo>
                        <a:pt x="3735" y="231"/>
                        <a:pt x="3735" y="231"/>
                        <a:pt x="3735" y="231"/>
                      </a:cubicBezTo>
                      <a:cubicBezTo>
                        <a:pt x="3747" y="211"/>
                        <a:pt x="3753" y="188"/>
                        <a:pt x="3753" y="163"/>
                      </a:cubicBezTo>
                      <a:cubicBezTo>
                        <a:pt x="3753" y="88"/>
                        <a:pt x="3693" y="28"/>
                        <a:pt x="3618" y="28"/>
                      </a:cubicBezTo>
                      <a:cubicBezTo>
                        <a:pt x="3544" y="28"/>
                        <a:pt x="3483" y="88"/>
                        <a:pt x="3483" y="163"/>
                      </a:cubicBezTo>
                      <a:cubicBezTo>
                        <a:pt x="3483" y="207"/>
                        <a:pt x="3505" y="247"/>
                        <a:pt x="3538" y="272"/>
                      </a:cubicBezTo>
                      <a:cubicBezTo>
                        <a:pt x="3464" y="372"/>
                        <a:pt x="3464" y="372"/>
                        <a:pt x="3464" y="372"/>
                      </a:cubicBezTo>
                      <a:cubicBezTo>
                        <a:pt x="3458" y="368"/>
                        <a:pt x="3450" y="366"/>
                        <a:pt x="3442" y="366"/>
                      </a:cubicBezTo>
                      <a:cubicBezTo>
                        <a:pt x="3417" y="366"/>
                        <a:pt x="3397" y="386"/>
                        <a:pt x="3397" y="411"/>
                      </a:cubicBezTo>
                      <a:cubicBezTo>
                        <a:pt x="3397" y="412"/>
                        <a:pt x="3397" y="412"/>
                        <a:pt x="3397" y="413"/>
                      </a:cubicBezTo>
                      <a:cubicBezTo>
                        <a:pt x="3304" y="424"/>
                        <a:pt x="3304" y="424"/>
                        <a:pt x="3304" y="424"/>
                      </a:cubicBezTo>
                      <a:cubicBezTo>
                        <a:pt x="3284" y="357"/>
                        <a:pt x="3221" y="307"/>
                        <a:pt x="3147" y="307"/>
                      </a:cubicBezTo>
                      <a:cubicBezTo>
                        <a:pt x="3077" y="307"/>
                        <a:pt x="3017" y="351"/>
                        <a:pt x="2994" y="414"/>
                      </a:cubicBezTo>
                      <a:cubicBezTo>
                        <a:pt x="2836" y="365"/>
                        <a:pt x="2836" y="365"/>
                        <a:pt x="2836" y="365"/>
                      </a:cubicBezTo>
                      <a:cubicBezTo>
                        <a:pt x="2839" y="352"/>
                        <a:pt x="2841" y="338"/>
                        <a:pt x="2841" y="324"/>
                      </a:cubicBezTo>
                      <a:cubicBezTo>
                        <a:pt x="2841" y="263"/>
                        <a:pt x="2807" y="211"/>
                        <a:pt x="2757" y="185"/>
                      </a:cubicBezTo>
                      <a:cubicBezTo>
                        <a:pt x="2787" y="109"/>
                        <a:pt x="2787" y="109"/>
                        <a:pt x="2787" y="109"/>
                      </a:cubicBezTo>
                      <a:cubicBezTo>
                        <a:pt x="2790" y="109"/>
                        <a:pt x="2793" y="110"/>
                        <a:pt x="2796" y="110"/>
                      </a:cubicBezTo>
                      <a:cubicBezTo>
                        <a:pt x="2821" y="110"/>
                        <a:pt x="2841" y="89"/>
                        <a:pt x="2841" y="65"/>
                      </a:cubicBezTo>
                      <a:cubicBezTo>
                        <a:pt x="2841" y="40"/>
                        <a:pt x="2821" y="20"/>
                        <a:pt x="2796" y="20"/>
                      </a:cubicBezTo>
                      <a:cubicBezTo>
                        <a:pt x="2771" y="20"/>
                        <a:pt x="2751" y="40"/>
                        <a:pt x="2751" y="65"/>
                      </a:cubicBezTo>
                      <a:cubicBezTo>
                        <a:pt x="2751" y="81"/>
                        <a:pt x="2760" y="95"/>
                        <a:pt x="2772" y="103"/>
                      </a:cubicBezTo>
                      <a:cubicBezTo>
                        <a:pt x="2742" y="179"/>
                        <a:pt x="2742" y="179"/>
                        <a:pt x="2742" y="179"/>
                      </a:cubicBezTo>
                      <a:cubicBezTo>
                        <a:pt x="2724" y="172"/>
                        <a:pt x="2705" y="168"/>
                        <a:pt x="2685" y="168"/>
                      </a:cubicBezTo>
                      <a:cubicBezTo>
                        <a:pt x="2658" y="168"/>
                        <a:pt x="2632" y="175"/>
                        <a:pt x="2609" y="188"/>
                      </a:cubicBezTo>
                      <a:cubicBezTo>
                        <a:pt x="2575" y="151"/>
                        <a:pt x="2575" y="151"/>
                        <a:pt x="2575" y="151"/>
                      </a:cubicBezTo>
                      <a:cubicBezTo>
                        <a:pt x="2579" y="146"/>
                        <a:pt x="2581" y="140"/>
                        <a:pt x="2581" y="134"/>
                      </a:cubicBezTo>
                      <a:cubicBezTo>
                        <a:pt x="2581" y="118"/>
                        <a:pt x="2568" y="105"/>
                        <a:pt x="2552" y="105"/>
                      </a:cubicBezTo>
                      <a:cubicBezTo>
                        <a:pt x="2536" y="105"/>
                        <a:pt x="2523" y="118"/>
                        <a:pt x="2523" y="134"/>
                      </a:cubicBezTo>
                      <a:cubicBezTo>
                        <a:pt x="2523" y="150"/>
                        <a:pt x="2536" y="163"/>
                        <a:pt x="2552" y="163"/>
                      </a:cubicBezTo>
                      <a:cubicBezTo>
                        <a:pt x="2556" y="163"/>
                        <a:pt x="2559" y="162"/>
                        <a:pt x="2563" y="161"/>
                      </a:cubicBezTo>
                      <a:cubicBezTo>
                        <a:pt x="2595" y="196"/>
                        <a:pt x="2595" y="196"/>
                        <a:pt x="2595" y="196"/>
                      </a:cubicBezTo>
                      <a:cubicBezTo>
                        <a:pt x="2555" y="225"/>
                        <a:pt x="2529" y="271"/>
                        <a:pt x="2529" y="324"/>
                      </a:cubicBezTo>
                      <a:cubicBezTo>
                        <a:pt x="2529" y="354"/>
                        <a:pt x="2538" y="383"/>
                        <a:pt x="2553" y="407"/>
                      </a:cubicBezTo>
                      <a:cubicBezTo>
                        <a:pt x="2334" y="546"/>
                        <a:pt x="2334" y="546"/>
                        <a:pt x="2334" y="546"/>
                      </a:cubicBezTo>
                      <a:cubicBezTo>
                        <a:pt x="2290" y="407"/>
                        <a:pt x="2159" y="306"/>
                        <a:pt x="2005" y="306"/>
                      </a:cubicBezTo>
                      <a:cubicBezTo>
                        <a:pt x="1840" y="306"/>
                        <a:pt x="1702" y="422"/>
                        <a:pt x="1668" y="577"/>
                      </a:cubicBezTo>
                      <a:cubicBezTo>
                        <a:pt x="1429" y="537"/>
                        <a:pt x="1429" y="537"/>
                        <a:pt x="1429" y="537"/>
                      </a:cubicBezTo>
                      <a:cubicBezTo>
                        <a:pt x="1430" y="527"/>
                        <a:pt x="1431" y="518"/>
                        <a:pt x="1431" y="508"/>
                      </a:cubicBezTo>
                      <a:cubicBezTo>
                        <a:pt x="1431" y="442"/>
                        <a:pt x="1390" y="386"/>
                        <a:pt x="1331" y="365"/>
                      </a:cubicBezTo>
                      <a:cubicBezTo>
                        <a:pt x="1374" y="269"/>
                        <a:pt x="1374" y="269"/>
                        <a:pt x="1374" y="269"/>
                      </a:cubicBezTo>
                      <a:cubicBezTo>
                        <a:pt x="1375" y="270"/>
                        <a:pt x="1377" y="270"/>
                        <a:pt x="1378" y="270"/>
                      </a:cubicBezTo>
                      <a:cubicBezTo>
                        <a:pt x="1403" y="270"/>
                        <a:pt x="1423" y="249"/>
                        <a:pt x="1423" y="225"/>
                      </a:cubicBezTo>
                      <a:cubicBezTo>
                        <a:pt x="1423" y="200"/>
                        <a:pt x="1403" y="180"/>
                        <a:pt x="1378" y="180"/>
                      </a:cubicBezTo>
                      <a:cubicBezTo>
                        <a:pt x="1353" y="180"/>
                        <a:pt x="1333" y="200"/>
                        <a:pt x="1333" y="225"/>
                      </a:cubicBezTo>
                      <a:cubicBezTo>
                        <a:pt x="1333" y="242"/>
                        <a:pt x="1343" y="258"/>
                        <a:pt x="1358" y="265"/>
                      </a:cubicBezTo>
                      <a:cubicBezTo>
                        <a:pt x="1316" y="360"/>
                        <a:pt x="1316" y="360"/>
                        <a:pt x="1316" y="360"/>
                      </a:cubicBezTo>
                      <a:cubicBezTo>
                        <a:pt x="1304" y="358"/>
                        <a:pt x="1292" y="356"/>
                        <a:pt x="1279" y="356"/>
                      </a:cubicBezTo>
                      <a:cubicBezTo>
                        <a:pt x="1224" y="356"/>
                        <a:pt x="1176" y="385"/>
                        <a:pt x="1149" y="430"/>
                      </a:cubicBezTo>
                      <a:cubicBezTo>
                        <a:pt x="994" y="297"/>
                        <a:pt x="994" y="297"/>
                        <a:pt x="994" y="297"/>
                      </a:cubicBezTo>
                      <a:cubicBezTo>
                        <a:pt x="1006" y="280"/>
                        <a:pt x="1013" y="258"/>
                        <a:pt x="1013" y="235"/>
                      </a:cubicBezTo>
                      <a:cubicBezTo>
                        <a:pt x="1013" y="174"/>
                        <a:pt x="964" y="124"/>
                        <a:pt x="902" y="124"/>
                      </a:cubicBezTo>
                      <a:cubicBezTo>
                        <a:pt x="879" y="124"/>
                        <a:pt x="858" y="131"/>
                        <a:pt x="840" y="143"/>
                      </a:cubicBezTo>
                      <a:cubicBezTo>
                        <a:pt x="794" y="80"/>
                        <a:pt x="794" y="80"/>
                        <a:pt x="794" y="80"/>
                      </a:cubicBezTo>
                      <a:cubicBezTo>
                        <a:pt x="804" y="72"/>
                        <a:pt x="811" y="59"/>
                        <a:pt x="811" y="45"/>
                      </a:cubicBezTo>
                      <a:cubicBezTo>
                        <a:pt x="811" y="20"/>
                        <a:pt x="791" y="0"/>
                        <a:pt x="766" y="0"/>
                      </a:cubicBezTo>
                      <a:cubicBezTo>
                        <a:pt x="741" y="0"/>
                        <a:pt x="721" y="20"/>
                        <a:pt x="721" y="45"/>
                      </a:cubicBezTo>
                      <a:cubicBezTo>
                        <a:pt x="721" y="69"/>
                        <a:pt x="741" y="90"/>
                        <a:pt x="766" y="90"/>
                      </a:cubicBezTo>
                      <a:cubicBezTo>
                        <a:pt x="771" y="90"/>
                        <a:pt x="775" y="89"/>
                        <a:pt x="780" y="87"/>
                      </a:cubicBezTo>
                      <a:cubicBezTo>
                        <a:pt x="827" y="153"/>
                        <a:pt x="827" y="153"/>
                        <a:pt x="827" y="153"/>
                      </a:cubicBezTo>
                      <a:cubicBezTo>
                        <a:pt x="805" y="173"/>
                        <a:pt x="791" y="203"/>
                        <a:pt x="791" y="235"/>
                      </a:cubicBezTo>
                      <a:cubicBezTo>
                        <a:pt x="791" y="256"/>
                        <a:pt x="797" y="276"/>
                        <a:pt x="808" y="293"/>
                      </a:cubicBezTo>
                      <a:cubicBezTo>
                        <a:pt x="741" y="357"/>
                        <a:pt x="741" y="357"/>
                        <a:pt x="741" y="357"/>
                      </a:cubicBezTo>
                      <a:cubicBezTo>
                        <a:pt x="732" y="349"/>
                        <a:pt x="719" y="344"/>
                        <a:pt x="706" y="344"/>
                      </a:cubicBezTo>
                      <a:cubicBezTo>
                        <a:pt x="686" y="344"/>
                        <a:pt x="669" y="355"/>
                        <a:pt x="660" y="371"/>
                      </a:cubicBezTo>
                      <a:cubicBezTo>
                        <a:pt x="564" y="325"/>
                        <a:pt x="564" y="325"/>
                        <a:pt x="564" y="325"/>
                      </a:cubicBezTo>
                      <a:cubicBezTo>
                        <a:pt x="567" y="312"/>
                        <a:pt x="569" y="298"/>
                        <a:pt x="569" y="285"/>
                      </a:cubicBezTo>
                      <a:cubicBezTo>
                        <a:pt x="569" y="188"/>
                        <a:pt x="488" y="109"/>
                        <a:pt x="388" y="109"/>
                      </a:cubicBezTo>
                      <a:cubicBezTo>
                        <a:pt x="320" y="109"/>
                        <a:pt x="261" y="146"/>
                        <a:pt x="231" y="199"/>
                      </a:cubicBezTo>
                      <a:cubicBezTo>
                        <a:pt x="162" y="155"/>
                        <a:pt x="162" y="155"/>
                        <a:pt x="162" y="155"/>
                      </a:cubicBezTo>
                      <a:cubicBezTo>
                        <a:pt x="166" y="145"/>
                        <a:pt x="168" y="135"/>
                        <a:pt x="168" y="123"/>
                      </a:cubicBezTo>
                      <a:cubicBezTo>
                        <a:pt x="168" y="77"/>
                        <a:pt x="131" y="39"/>
                        <a:pt x="84" y="39"/>
                      </a:cubicBezTo>
                      <a:cubicBezTo>
                        <a:pt x="38" y="39"/>
                        <a:pt x="0" y="77"/>
                        <a:pt x="0" y="123"/>
                      </a:cubicBezTo>
                      <a:cubicBezTo>
                        <a:pt x="0" y="170"/>
                        <a:pt x="38" y="207"/>
                        <a:pt x="84" y="207"/>
                      </a:cubicBezTo>
                      <a:cubicBezTo>
                        <a:pt x="114" y="207"/>
                        <a:pt x="139" y="192"/>
                        <a:pt x="154" y="170"/>
                      </a:cubicBezTo>
                      <a:cubicBezTo>
                        <a:pt x="223" y="214"/>
                        <a:pt x="223" y="214"/>
                        <a:pt x="223" y="214"/>
                      </a:cubicBezTo>
                      <a:cubicBezTo>
                        <a:pt x="213" y="235"/>
                        <a:pt x="208" y="259"/>
                        <a:pt x="208" y="285"/>
                      </a:cubicBezTo>
                      <a:cubicBezTo>
                        <a:pt x="208" y="344"/>
                        <a:pt x="239" y="397"/>
                        <a:pt x="286" y="429"/>
                      </a:cubicBezTo>
                      <a:cubicBezTo>
                        <a:pt x="230" y="516"/>
                        <a:pt x="230" y="516"/>
                        <a:pt x="230" y="516"/>
                      </a:cubicBezTo>
                      <a:cubicBezTo>
                        <a:pt x="225" y="514"/>
                        <a:pt x="220" y="514"/>
                        <a:pt x="214" y="514"/>
                      </a:cubicBezTo>
                      <a:cubicBezTo>
                        <a:pt x="185" y="514"/>
                        <a:pt x="161" y="537"/>
                        <a:pt x="161" y="567"/>
                      </a:cubicBezTo>
                      <a:cubicBezTo>
                        <a:pt x="161" y="596"/>
                        <a:pt x="185" y="620"/>
                        <a:pt x="214" y="620"/>
                      </a:cubicBezTo>
                      <a:cubicBezTo>
                        <a:pt x="243" y="620"/>
                        <a:pt x="267" y="596"/>
                        <a:pt x="267" y="567"/>
                      </a:cubicBezTo>
                      <a:cubicBezTo>
                        <a:pt x="267" y="549"/>
                        <a:pt x="258" y="533"/>
                        <a:pt x="244" y="523"/>
                      </a:cubicBezTo>
                      <a:cubicBezTo>
                        <a:pt x="300" y="437"/>
                        <a:pt x="300" y="437"/>
                        <a:pt x="300" y="437"/>
                      </a:cubicBezTo>
                      <a:cubicBezTo>
                        <a:pt x="326" y="452"/>
                        <a:pt x="356" y="460"/>
                        <a:pt x="388" y="460"/>
                      </a:cubicBezTo>
                      <a:cubicBezTo>
                        <a:pt x="468" y="460"/>
                        <a:pt x="535" y="410"/>
                        <a:pt x="559" y="340"/>
                      </a:cubicBezTo>
                      <a:cubicBezTo>
                        <a:pt x="654" y="386"/>
                        <a:pt x="654" y="386"/>
                        <a:pt x="654" y="386"/>
                      </a:cubicBezTo>
                      <a:cubicBezTo>
                        <a:pt x="653" y="389"/>
                        <a:pt x="653" y="393"/>
                        <a:pt x="653" y="397"/>
                      </a:cubicBezTo>
                      <a:cubicBezTo>
                        <a:pt x="653" y="426"/>
                        <a:pt x="677" y="450"/>
                        <a:pt x="706" y="450"/>
                      </a:cubicBezTo>
                      <a:cubicBezTo>
                        <a:pt x="735" y="450"/>
                        <a:pt x="759" y="426"/>
                        <a:pt x="759" y="397"/>
                      </a:cubicBezTo>
                      <a:cubicBezTo>
                        <a:pt x="759" y="387"/>
                        <a:pt x="756" y="377"/>
                        <a:pt x="751" y="369"/>
                      </a:cubicBezTo>
                      <a:cubicBezTo>
                        <a:pt x="817" y="306"/>
                        <a:pt x="817" y="306"/>
                        <a:pt x="817" y="306"/>
                      </a:cubicBezTo>
                      <a:cubicBezTo>
                        <a:pt x="838" y="331"/>
                        <a:pt x="868" y="346"/>
                        <a:pt x="902" y="346"/>
                      </a:cubicBezTo>
                      <a:cubicBezTo>
                        <a:pt x="935" y="346"/>
                        <a:pt x="964" y="332"/>
                        <a:pt x="984" y="310"/>
                      </a:cubicBezTo>
                      <a:cubicBezTo>
                        <a:pt x="1141" y="444"/>
                        <a:pt x="1141" y="444"/>
                        <a:pt x="1141" y="444"/>
                      </a:cubicBezTo>
                      <a:cubicBezTo>
                        <a:pt x="1132" y="463"/>
                        <a:pt x="1127" y="485"/>
                        <a:pt x="1127" y="508"/>
                      </a:cubicBezTo>
                      <a:cubicBezTo>
                        <a:pt x="1127" y="520"/>
                        <a:pt x="1129" y="532"/>
                        <a:pt x="1132" y="544"/>
                      </a:cubicBezTo>
                      <a:cubicBezTo>
                        <a:pt x="1068" y="567"/>
                        <a:pt x="1068" y="567"/>
                        <a:pt x="1068" y="567"/>
                      </a:cubicBezTo>
                      <a:cubicBezTo>
                        <a:pt x="1060" y="553"/>
                        <a:pt x="1045" y="544"/>
                        <a:pt x="1028" y="544"/>
                      </a:cubicBezTo>
                      <a:cubicBezTo>
                        <a:pt x="1003" y="544"/>
                        <a:pt x="983" y="564"/>
                        <a:pt x="983" y="589"/>
                      </a:cubicBezTo>
                      <a:cubicBezTo>
                        <a:pt x="983" y="613"/>
                        <a:pt x="1003" y="634"/>
                        <a:pt x="1028" y="634"/>
                      </a:cubicBezTo>
                      <a:cubicBezTo>
                        <a:pt x="1053" y="634"/>
                        <a:pt x="1073" y="613"/>
                        <a:pt x="1073" y="589"/>
                      </a:cubicBezTo>
                      <a:cubicBezTo>
                        <a:pt x="1073" y="587"/>
                        <a:pt x="1073" y="585"/>
                        <a:pt x="1073" y="583"/>
                      </a:cubicBezTo>
                      <a:cubicBezTo>
                        <a:pt x="1136" y="559"/>
                        <a:pt x="1136" y="559"/>
                        <a:pt x="1136" y="559"/>
                      </a:cubicBezTo>
                      <a:cubicBezTo>
                        <a:pt x="1157" y="618"/>
                        <a:pt x="1213" y="660"/>
                        <a:pt x="1279" y="660"/>
                      </a:cubicBezTo>
                      <a:cubicBezTo>
                        <a:pt x="1300" y="660"/>
                        <a:pt x="1320" y="656"/>
                        <a:pt x="1339" y="648"/>
                      </a:cubicBezTo>
                      <a:cubicBezTo>
                        <a:pt x="1356" y="677"/>
                        <a:pt x="1356" y="677"/>
                        <a:pt x="1356" y="677"/>
                      </a:cubicBezTo>
                      <a:cubicBezTo>
                        <a:pt x="1347" y="685"/>
                        <a:pt x="1341" y="697"/>
                        <a:pt x="1341" y="711"/>
                      </a:cubicBezTo>
                      <a:cubicBezTo>
                        <a:pt x="1341" y="735"/>
                        <a:pt x="1361" y="756"/>
                        <a:pt x="1386" y="756"/>
                      </a:cubicBezTo>
                      <a:cubicBezTo>
                        <a:pt x="1411" y="756"/>
                        <a:pt x="1431" y="735"/>
                        <a:pt x="1431" y="711"/>
                      </a:cubicBezTo>
                      <a:cubicBezTo>
                        <a:pt x="1431" y="686"/>
                        <a:pt x="1411" y="666"/>
                        <a:pt x="1386" y="666"/>
                      </a:cubicBezTo>
                      <a:cubicBezTo>
                        <a:pt x="1380" y="666"/>
                        <a:pt x="1375" y="667"/>
                        <a:pt x="1370" y="669"/>
                      </a:cubicBezTo>
                      <a:cubicBezTo>
                        <a:pt x="1353" y="641"/>
                        <a:pt x="1353" y="641"/>
                        <a:pt x="1353" y="641"/>
                      </a:cubicBezTo>
                      <a:cubicBezTo>
                        <a:pt x="1387" y="622"/>
                        <a:pt x="1413" y="590"/>
                        <a:pt x="1425" y="552"/>
                      </a:cubicBezTo>
                      <a:cubicBezTo>
                        <a:pt x="1665" y="592"/>
                        <a:pt x="1665" y="592"/>
                        <a:pt x="1665" y="592"/>
                      </a:cubicBezTo>
                      <a:cubicBezTo>
                        <a:pt x="1662" y="611"/>
                        <a:pt x="1660" y="631"/>
                        <a:pt x="1660" y="651"/>
                      </a:cubicBezTo>
                      <a:cubicBezTo>
                        <a:pt x="1660" y="841"/>
                        <a:pt x="1814" y="996"/>
                        <a:pt x="2005" y="996"/>
                      </a:cubicBezTo>
                      <a:cubicBezTo>
                        <a:pt x="2196" y="996"/>
                        <a:pt x="2350" y="841"/>
                        <a:pt x="2350" y="651"/>
                      </a:cubicBezTo>
                      <a:cubicBezTo>
                        <a:pt x="2350" y="620"/>
                        <a:pt x="2346" y="591"/>
                        <a:pt x="2338" y="562"/>
                      </a:cubicBezTo>
                      <a:cubicBezTo>
                        <a:pt x="2562" y="420"/>
                        <a:pt x="2562" y="420"/>
                        <a:pt x="2562" y="420"/>
                      </a:cubicBezTo>
                      <a:cubicBezTo>
                        <a:pt x="2591" y="456"/>
                        <a:pt x="2635" y="480"/>
                        <a:pt x="2685" y="480"/>
                      </a:cubicBezTo>
                      <a:cubicBezTo>
                        <a:pt x="2700" y="480"/>
                        <a:pt x="2715" y="478"/>
                        <a:pt x="2728" y="474"/>
                      </a:cubicBezTo>
                      <a:cubicBezTo>
                        <a:pt x="2757" y="535"/>
                        <a:pt x="2757" y="535"/>
                        <a:pt x="2757" y="535"/>
                      </a:cubicBezTo>
                      <a:cubicBezTo>
                        <a:pt x="2728" y="548"/>
                        <a:pt x="2708" y="577"/>
                        <a:pt x="2708" y="611"/>
                      </a:cubicBezTo>
                      <a:cubicBezTo>
                        <a:pt x="2708" y="658"/>
                        <a:pt x="2746" y="695"/>
                        <a:pt x="2792" y="695"/>
                      </a:cubicBezTo>
                      <a:cubicBezTo>
                        <a:pt x="2839" y="695"/>
                        <a:pt x="2876" y="658"/>
                        <a:pt x="2876" y="611"/>
                      </a:cubicBezTo>
                      <a:cubicBezTo>
                        <a:pt x="2876" y="565"/>
                        <a:pt x="2839" y="527"/>
                        <a:pt x="2792" y="527"/>
                      </a:cubicBezTo>
                      <a:cubicBezTo>
                        <a:pt x="2786" y="527"/>
                        <a:pt x="2779" y="528"/>
                        <a:pt x="2773" y="530"/>
                      </a:cubicBezTo>
                      <a:cubicBezTo>
                        <a:pt x="2743" y="469"/>
                        <a:pt x="2743" y="469"/>
                        <a:pt x="2743" y="469"/>
                      </a:cubicBezTo>
                      <a:cubicBezTo>
                        <a:pt x="2783" y="453"/>
                        <a:pt x="2815" y="420"/>
                        <a:pt x="2831" y="380"/>
                      </a:cubicBezTo>
                      <a:cubicBezTo>
                        <a:pt x="2989" y="429"/>
                        <a:pt x="2989" y="429"/>
                        <a:pt x="2989" y="429"/>
                      </a:cubicBezTo>
                      <a:cubicBezTo>
                        <a:pt x="2986" y="442"/>
                        <a:pt x="2984" y="456"/>
                        <a:pt x="2984" y="471"/>
                      </a:cubicBezTo>
                      <a:cubicBezTo>
                        <a:pt x="2984" y="539"/>
                        <a:pt x="3026" y="597"/>
                        <a:pt x="3085" y="622"/>
                      </a:cubicBezTo>
                      <a:cubicBezTo>
                        <a:pt x="3029" y="789"/>
                        <a:pt x="3029" y="789"/>
                        <a:pt x="3029" y="789"/>
                      </a:cubicBezTo>
                      <a:cubicBezTo>
                        <a:pt x="3026" y="788"/>
                        <a:pt x="3023" y="788"/>
                        <a:pt x="3020" y="788"/>
                      </a:cubicBezTo>
                      <a:cubicBezTo>
                        <a:pt x="2995" y="788"/>
                        <a:pt x="2975" y="808"/>
                        <a:pt x="2975" y="833"/>
                      </a:cubicBezTo>
                      <a:cubicBezTo>
                        <a:pt x="2975" y="857"/>
                        <a:pt x="2995" y="878"/>
                        <a:pt x="3020" y="878"/>
                      </a:cubicBezTo>
                      <a:cubicBezTo>
                        <a:pt x="3045" y="878"/>
                        <a:pt x="3065" y="857"/>
                        <a:pt x="3065" y="833"/>
                      </a:cubicBezTo>
                      <a:cubicBezTo>
                        <a:pt x="3065" y="817"/>
                        <a:pt x="3057" y="803"/>
                        <a:pt x="3044" y="795"/>
                      </a:cubicBezTo>
                      <a:cubicBezTo>
                        <a:pt x="3100" y="627"/>
                        <a:pt x="3100" y="627"/>
                        <a:pt x="3100" y="627"/>
                      </a:cubicBezTo>
                      <a:cubicBezTo>
                        <a:pt x="3115" y="631"/>
                        <a:pt x="3131" y="634"/>
                        <a:pt x="3147" y="634"/>
                      </a:cubicBezTo>
                      <a:cubicBezTo>
                        <a:pt x="3198" y="634"/>
                        <a:pt x="3243" y="611"/>
                        <a:pt x="3273" y="575"/>
                      </a:cubicBezTo>
                      <a:cubicBezTo>
                        <a:pt x="3459" y="656"/>
                        <a:pt x="3459" y="656"/>
                        <a:pt x="3459" y="656"/>
                      </a:cubicBezTo>
                      <a:cubicBezTo>
                        <a:pt x="3457" y="662"/>
                        <a:pt x="3456" y="669"/>
                        <a:pt x="3456" y="675"/>
                      </a:cubicBezTo>
                      <a:cubicBezTo>
                        <a:pt x="3456" y="722"/>
                        <a:pt x="3494" y="759"/>
                        <a:pt x="3540" y="759"/>
                      </a:cubicBezTo>
                      <a:cubicBezTo>
                        <a:pt x="3587" y="759"/>
                        <a:pt x="3624" y="722"/>
                        <a:pt x="3624" y="675"/>
                      </a:cubicBezTo>
                      <a:cubicBezTo>
                        <a:pt x="3624" y="629"/>
                        <a:pt x="3587" y="591"/>
                        <a:pt x="3540" y="591"/>
                      </a:cubicBezTo>
                      <a:cubicBezTo>
                        <a:pt x="3506" y="591"/>
                        <a:pt x="3477" y="612"/>
                        <a:pt x="3464" y="641"/>
                      </a:cubicBezTo>
                      <a:cubicBezTo>
                        <a:pt x="3283" y="562"/>
                        <a:pt x="3283" y="562"/>
                        <a:pt x="3283" y="562"/>
                      </a:cubicBezTo>
                      <a:cubicBezTo>
                        <a:pt x="3300" y="536"/>
                        <a:pt x="3311" y="504"/>
                        <a:pt x="3311" y="471"/>
                      </a:cubicBezTo>
                      <a:cubicBezTo>
                        <a:pt x="3311" y="460"/>
                        <a:pt x="3310" y="450"/>
                        <a:pt x="3308" y="440"/>
                      </a:cubicBezTo>
                      <a:cubicBezTo>
                        <a:pt x="3401" y="429"/>
                        <a:pt x="3401" y="429"/>
                        <a:pt x="3401" y="429"/>
                      </a:cubicBezTo>
                      <a:cubicBezTo>
                        <a:pt x="3408" y="445"/>
                        <a:pt x="3424" y="456"/>
                        <a:pt x="3442" y="456"/>
                      </a:cubicBezTo>
                      <a:cubicBezTo>
                        <a:pt x="3467" y="456"/>
                        <a:pt x="3487" y="435"/>
                        <a:pt x="3487" y="411"/>
                      </a:cubicBezTo>
                      <a:cubicBezTo>
                        <a:pt x="3487" y="400"/>
                        <a:pt x="3483" y="390"/>
                        <a:pt x="3477" y="382"/>
                      </a:cubicBezTo>
                      <a:cubicBezTo>
                        <a:pt x="3551" y="280"/>
                        <a:pt x="3551" y="280"/>
                        <a:pt x="3551" y="280"/>
                      </a:cubicBezTo>
                      <a:cubicBezTo>
                        <a:pt x="3571" y="291"/>
                        <a:pt x="3594" y="298"/>
                        <a:pt x="3618" y="298"/>
                      </a:cubicBezTo>
                      <a:cubicBezTo>
                        <a:pt x="3662" y="298"/>
                        <a:pt x="3702" y="277"/>
                        <a:pt x="3726" y="244"/>
                      </a:cubicBezTo>
                      <a:cubicBezTo>
                        <a:pt x="3856" y="333"/>
                        <a:pt x="3856" y="333"/>
                        <a:pt x="3856" y="333"/>
                      </a:cubicBezTo>
                      <a:cubicBezTo>
                        <a:pt x="3850" y="344"/>
                        <a:pt x="3846" y="357"/>
                        <a:pt x="3846" y="371"/>
                      </a:cubicBezTo>
                      <a:cubicBezTo>
                        <a:pt x="3846" y="418"/>
                        <a:pt x="3884" y="455"/>
                        <a:pt x="3930" y="455"/>
                      </a:cubicBezTo>
                      <a:cubicBezTo>
                        <a:pt x="3977" y="455"/>
                        <a:pt x="4014" y="418"/>
                        <a:pt x="4014" y="371"/>
                      </a:cubicBezTo>
                      <a:cubicBezTo>
                        <a:pt x="4014" y="325"/>
                        <a:pt x="3977" y="287"/>
                        <a:pt x="3930" y="287"/>
                      </a:cubicBezTo>
                      <a:close/>
                      <a:moveTo>
                        <a:pt x="2796" y="42"/>
                      </a:moveTo>
                      <a:cubicBezTo>
                        <a:pt x="2808" y="42"/>
                        <a:pt x="2818" y="52"/>
                        <a:pt x="2818" y="65"/>
                      </a:cubicBezTo>
                      <a:cubicBezTo>
                        <a:pt x="2818" y="77"/>
                        <a:pt x="2808" y="87"/>
                        <a:pt x="2796" y="87"/>
                      </a:cubicBezTo>
                      <a:cubicBezTo>
                        <a:pt x="2784" y="87"/>
                        <a:pt x="2774" y="77"/>
                        <a:pt x="2774" y="65"/>
                      </a:cubicBezTo>
                      <a:cubicBezTo>
                        <a:pt x="2774" y="52"/>
                        <a:pt x="2784" y="42"/>
                        <a:pt x="2796" y="42"/>
                      </a:cubicBezTo>
                      <a:close/>
                      <a:moveTo>
                        <a:pt x="2536" y="134"/>
                      </a:moveTo>
                      <a:cubicBezTo>
                        <a:pt x="2536" y="125"/>
                        <a:pt x="2543" y="118"/>
                        <a:pt x="2552" y="118"/>
                      </a:cubicBezTo>
                      <a:cubicBezTo>
                        <a:pt x="2561" y="118"/>
                        <a:pt x="2569" y="125"/>
                        <a:pt x="2569" y="134"/>
                      </a:cubicBezTo>
                      <a:cubicBezTo>
                        <a:pt x="2569" y="143"/>
                        <a:pt x="2561" y="150"/>
                        <a:pt x="2552" y="150"/>
                      </a:cubicBezTo>
                      <a:cubicBezTo>
                        <a:pt x="2543" y="150"/>
                        <a:pt x="2536" y="143"/>
                        <a:pt x="2536" y="134"/>
                      </a:cubicBezTo>
                      <a:close/>
                      <a:moveTo>
                        <a:pt x="1378" y="202"/>
                      </a:moveTo>
                      <a:cubicBezTo>
                        <a:pt x="1390" y="202"/>
                        <a:pt x="1400" y="212"/>
                        <a:pt x="1400" y="225"/>
                      </a:cubicBezTo>
                      <a:cubicBezTo>
                        <a:pt x="1400" y="237"/>
                        <a:pt x="1390" y="247"/>
                        <a:pt x="1378" y="247"/>
                      </a:cubicBezTo>
                      <a:cubicBezTo>
                        <a:pt x="1366" y="247"/>
                        <a:pt x="1356" y="237"/>
                        <a:pt x="1356" y="225"/>
                      </a:cubicBezTo>
                      <a:cubicBezTo>
                        <a:pt x="1356" y="212"/>
                        <a:pt x="1366" y="202"/>
                        <a:pt x="1378" y="202"/>
                      </a:cubicBezTo>
                      <a:close/>
                      <a:moveTo>
                        <a:pt x="744" y="45"/>
                      </a:moveTo>
                      <a:cubicBezTo>
                        <a:pt x="744" y="32"/>
                        <a:pt x="754" y="22"/>
                        <a:pt x="766" y="22"/>
                      </a:cubicBezTo>
                      <a:cubicBezTo>
                        <a:pt x="778" y="22"/>
                        <a:pt x="788" y="32"/>
                        <a:pt x="788" y="45"/>
                      </a:cubicBezTo>
                      <a:cubicBezTo>
                        <a:pt x="788" y="57"/>
                        <a:pt x="778" y="67"/>
                        <a:pt x="766" y="67"/>
                      </a:cubicBezTo>
                      <a:cubicBezTo>
                        <a:pt x="754" y="67"/>
                        <a:pt x="744" y="57"/>
                        <a:pt x="744" y="45"/>
                      </a:cubicBezTo>
                      <a:close/>
                      <a:moveTo>
                        <a:pt x="84" y="166"/>
                      </a:moveTo>
                      <a:cubicBezTo>
                        <a:pt x="61" y="166"/>
                        <a:pt x="42" y="147"/>
                        <a:pt x="42" y="123"/>
                      </a:cubicBezTo>
                      <a:cubicBezTo>
                        <a:pt x="42" y="100"/>
                        <a:pt x="61" y="81"/>
                        <a:pt x="84" y="81"/>
                      </a:cubicBezTo>
                      <a:cubicBezTo>
                        <a:pt x="108" y="81"/>
                        <a:pt x="127" y="100"/>
                        <a:pt x="127" y="123"/>
                      </a:cubicBezTo>
                      <a:cubicBezTo>
                        <a:pt x="127" y="147"/>
                        <a:pt x="108" y="166"/>
                        <a:pt x="84" y="166"/>
                      </a:cubicBezTo>
                      <a:close/>
                      <a:moveTo>
                        <a:pt x="214" y="593"/>
                      </a:moveTo>
                      <a:cubicBezTo>
                        <a:pt x="199" y="593"/>
                        <a:pt x="188" y="581"/>
                        <a:pt x="188" y="567"/>
                      </a:cubicBezTo>
                      <a:cubicBezTo>
                        <a:pt x="188" y="552"/>
                        <a:pt x="199" y="540"/>
                        <a:pt x="214" y="540"/>
                      </a:cubicBezTo>
                      <a:cubicBezTo>
                        <a:pt x="229" y="540"/>
                        <a:pt x="240" y="552"/>
                        <a:pt x="240" y="567"/>
                      </a:cubicBezTo>
                      <a:cubicBezTo>
                        <a:pt x="240" y="581"/>
                        <a:pt x="229" y="593"/>
                        <a:pt x="214" y="593"/>
                      </a:cubicBezTo>
                      <a:close/>
                      <a:moveTo>
                        <a:pt x="388" y="385"/>
                      </a:moveTo>
                      <a:cubicBezTo>
                        <a:pt x="330" y="385"/>
                        <a:pt x="282" y="339"/>
                        <a:pt x="282" y="282"/>
                      </a:cubicBezTo>
                      <a:cubicBezTo>
                        <a:pt x="282" y="225"/>
                        <a:pt x="330" y="179"/>
                        <a:pt x="388" y="179"/>
                      </a:cubicBezTo>
                      <a:cubicBezTo>
                        <a:pt x="447" y="179"/>
                        <a:pt x="494" y="225"/>
                        <a:pt x="494" y="282"/>
                      </a:cubicBezTo>
                      <a:cubicBezTo>
                        <a:pt x="494" y="339"/>
                        <a:pt x="447" y="385"/>
                        <a:pt x="388" y="385"/>
                      </a:cubicBezTo>
                      <a:close/>
                      <a:moveTo>
                        <a:pt x="706" y="423"/>
                      </a:moveTo>
                      <a:cubicBezTo>
                        <a:pt x="691" y="423"/>
                        <a:pt x="680" y="411"/>
                        <a:pt x="680" y="397"/>
                      </a:cubicBezTo>
                      <a:cubicBezTo>
                        <a:pt x="680" y="382"/>
                        <a:pt x="691" y="370"/>
                        <a:pt x="706" y="370"/>
                      </a:cubicBezTo>
                      <a:cubicBezTo>
                        <a:pt x="721" y="370"/>
                        <a:pt x="732" y="382"/>
                        <a:pt x="732" y="397"/>
                      </a:cubicBezTo>
                      <a:cubicBezTo>
                        <a:pt x="732" y="411"/>
                        <a:pt x="721" y="423"/>
                        <a:pt x="706" y="423"/>
                      </a:cubicBezTo>
                      <a:close/>
                      <a:moveTo>
                        <a:pt x="902" y="298"/>
                      </a:moveTo>
                      <a:cubicBezTo>
                        <a:pt x="866" y="298"/>
                        <a:pt x="837" y="269"/>
                        <a:pt x="837" y="233"/>
                      </a:cubicBezTo>
                      <a:cubicBezTo>
                        <a:pt x="837" y="197"/>
                        <a:pt x="866" y="168"/>
                        <a:pt x="902" y="168"/>
                      </a:cubicBezTo>
                      <a:cubicBezTo>
                        <a:pt x="938" y="168"/>
                        <a:pt x="967" y="197"/>
                        <a:pt x="967" y="233"/>
                      </a:cubicBezTo>
                      <a:cubicBezTo>
                        <a:pt x="967" y="269"/>
                        <a:pt x="938" y="298"/>
                        <a:pt x="902" y="298"/>
                      </a:cubicBezTo>
                      <a:close/>
                      <a:moveTo>
                        <a:pt x="1028" y="611"/>
                      </a:moveTo>
                      <a:cubicBezTo>
                        <a:pt x="1016" y="611"/>
                        <a:pt x="1006" y="601"/>
                        <a:pt x="1006" y="589"/>
                      </a:cubicBezTo>
                      <a:cubicBezTo>
                        <a:pt x="1006" y="576"/>
                        <a:pt x="1016" y="566"/>
                        <a:pt x="1028" y="566"/>
                      </a:cubicBezTo>
                      <a:cubicBezTo>
                        <a:pt x="1040" y="566"/>
                        <a:pt x="1050" y="576"/>
                        <a:pt x="1050" y="589"/>
                      </a:cubicBezTo>
                      <a:cubicBezTo>
                        <a:pt x="1050" y="601"/>
                        <a:pt x="1040" y="611"/>
                        <a:pt x="1028" y="611"/>
                      </a:cubicBezTo>
                      <a:close/>
                      <a:moveTo>
                        <a:pt x="1408" y="711"/>
                      </a:moveTo>
                      <a:cubicBezTo>
                        <a:pt x="1408" y="723"/>
                        <a:pt x="1398" y="733"/>
                        <a:pt x="1386" y="733"/>
                      </a:cubicBezTo>
                      <a:cubicBezTo>
                        <a:pt x="1374" y="733"/>
                        <a:pt x="1364" y="723"/>
                        <a:pt x="1364" y="711"/>
                      </a:cubicBezTo>
                      <a:cubicBezTo>
                        <a:pt x="1364" y="698"/>
                        <a:pt x="1374" y="688"/>
                        <a:pt x="1386" y="688"/>
                      </a:cubicBezTo>
                      <a:cubicBezTo>
                        <a:pt x="1398" y="688"/>
                        <a:pt x="1408" y="698"/>
                        <a:pt x="1408" y="711"/>
                      </a:cubicBezTo>
                      <a:close/>
                      <a:moveTo>
                        <a:pt x="1279" y="595"/>
                      </a:moveTo>
                      <a:cubicBezTo>
                        <a:pt x="1230" y="595"/>
                        <a:pt x="1190" y="555"/>
                        <a:pt x="1190" y="506"/>
                      </a:cubicBezTo>
                      <a:cubicBezTo>
                        <a:pt x="1190" y="456"/>
                        <a:pt x="1230" y="416"/>
                        <a:pt x="1279" y="416"/>
                      </a:cubicBezTo>
                      <a:cubicBezTo>
                        <a:pt x="1328" y="416"/>
                        <a:pt x="1368" y="456"/>
                        <a:pt x="1368" y="506"/>
                      </a:cubicBezTo>
                      <a:cubicBezTo>
                        <a:pt x="1368" y="555"/>
                        <a:pt x="1328" y="595"/>
                        <a:pt x="1279" y="595"/>
                      </a:cubicBezTo>
                      <a:close/>
                      <a:moveTo>
                        <a:pt x="2005" y="866"/>
                      </a:moveTo>
                      <a:cubicBezTo>
                        <a:pt x="1885" y="866"/>
                        <a:pt x="1788" y="769"/>
                        <a:pt x="1788" y="649"/>
                      </a:cubicBezTo>
                      <a:cubicBezTo>
                        <a:pt x="1788" y="529"/>
                        <a:pt x="1885" y="432"/>
                        <a:pt x="2005" y="432"/>
                      </a:cubicBezTo>
                      <a:cubicBezTo>
                        <a:pt x="2125" y="432"/>
                        <a:pt x="2222" y="529"/>
                        <a:pt x="2222" y="649"/>
                      </a:cubicBezTo>
                      <a:cubicBezTo>
                        <a:pt x="2222" y="769"/>
                        <a:pt x="2125" y="866"/>
                        <a:pt x="2005" y="866"/>
                      </a:cubicBezTo>
                      <a:close/>
                      <a:moveTo>
                        <a:pt x="2835" y="611"/>
                      </a:moveTo>
                      <a:cubicBezTo>
                        <a:pt x="2835" y="635"/>
                        <a:pt x="2816" y="654"/>
                        <a:pt x="2792" y="654"/>
                      </a:cubicBezTo>
                      <a:cubicBezTo>
                        <a:pt x="2769" y="654"/>
                        <a:pt x="2750" y="635"/>
                        <a:pt x="2750" y="611"/>
                      </a:cubicBezTo>
                      <a:cubicBezTo>
                        <a:pt x="2750" y="588"/>
                        <a:pt x="2769" y="569"/>
                        <a:pt x="2792" y="569"/>
                      </a:cubicBezTo>
                      <a:cubicBezTo>
                        <a:pt x="2816" y="569"/>
                        <a:pt x="2835" y="588"/>
                        <a:pt x="2835" y="611"/>
                      </a:cubicBezTo>
                      <a:close/>
                      <a:moveTo>
                        <a:pt x="2685" y="413"/>
                      </a:moveTo>
                      <a:cubicBezTo>
                        <a:pt x="2635" y="413"/>
                        <a:pt x="2594" y="372"/>
                        <a:pt x="2594" y="321"/>
                      </a:cubicBezTo>
                      <a:cubicBezTo>
                        <a:pt x="2594" y="271"/>
                        <a:pt x="2635" y="230"/>
                        <a:pt x="2685" y="230"/>
                      </a:cubicBezTo>
                      <a:cubicBezTo>
                        <a:pt x="2736" y="230"/>
                        <a:pt x="2777" y="271"/>
                        <a:pt x="2777" y="321"/>
                      </a:cubicBezTo>
                      <a:cubicBezTo>
                        <a:pt x="2777" y="372"/>
                        <a:pt x="2736" y="413"/>
                        <a:pt x="2685" y="413"/>
                      </a:cubicBezTo>
                      <a:close/>
                      <a:moveTo>
                        <a:pt x="3020" y="855"/>
                      </a:moveTo>
                      <a:cubicBezTo>
                        <a:pt x="3008" y="855"/>
                        <a:pt x="2998" y="845"/>
                        <a:pt x="2998" y="833"/>
                      </a:cubicBezTo>
                      <a:cubicBezTo>
                        <a:pt x="2998" y="820"/>
                        <a:pt x="3008" y="810"/>
                        <a:pt x="3020" y="810"/>
                      </a:cubicBezTo>
                      <a:cubicBezTo>
                        <a:pt x="3032" y="810"/>
                        <a:pt x="3042" y="820"/>
                        <a:pt x="3042" y="833"/>
                      </a:cubicBezTo>
                      <a:cubicBezTo>
                        <a:pt x="3042" y="845"/>
                        <a:pt x="3032" y="855"/>
                        <a:pt x="3020" y="855"/>
                      </a:cubicBezTo>
                      <a:close/>
                      <a:moveTo>
                        <a:pt x="3147" y="564"/>
                      </a:moveTo>
                      <a:cubicBezTo>
                        <a:pt x="3094" y="564"/>
                        <a:pt x="3051" y="521"/>
                        <a:pt x="3051" y="468"/>
                      </a:cubicBezTo>
                      <a:cubicBezTo>
                        <a:pt x="3051" y="415"/>
                        <a:pt x="3094" y="372"/>
                        <a:pt x="3147" y="372"/>
                      </a:cubicBezTo>
                      <a:cubicBezTo>
                        <a:pt x="3200" y="372"/>
                        <a:pt x="3243" y="415"/>
                        <a:pt x="3243" y="468"/>
                      </a:cubicBezTo>
                      <a:cubicBezTo>
                        <a:pt x="3243" y="521"/>
                        <a:pt x="3200" y="564"/>
                        <a:pt x="3147" y="564"/>
                      </a:cubicBezTo>
                      <a:close/>
                      <a:moveTo>
                        <a:pt x="3540" y="633"/>
                      </a:moveTo>
                      <a:cubicBezTo>
                        <a:pt x="3564" y="633"/>
                        <a:pt x="3583" y="652"/>
                        <a:pt x="3583" y="675"/>
                      </a:cubicBezTo>
                      <a:cubicBezTo>
                        <a:pt x="3583" y="699"/>
                        <a:pt x="3564" y="718"/>
                        <a:pt x="3540" y="718"/>
                      </a:cubicBezTo>
                      <a:cubicBezTo>
                        <a:pt x="3517" y="718"/>
                        <a:pt x="3498" y="699"/>
                        <a:pt x="3498" y="675"/>
                      </a:cubicBezTo>
                      <a:cubicBezTo>
                        <a:pt x="3498" y="652"/>
                        <a:pt x="3517" y="633"/>
                        <a:pt x="3540" y="633"/>
                      </a:cubicBezTo>
                      <a:close/>
                      <a:moveTo>
                        <a:pt x="3442" y="433"/>
                      </a:moveTo>
                      <a:cubicBezTo>
                        <a:pt x="3430" y="433"/>
                        <a:pt x="3420" y="423"/>
                        <a:pt x="3420" y="411"/>
                      </a:cubicBezTo>
                      <a:cubicBezTo>
                        <a:pt x="3420" y="398"/>
                        <a:pt x="3430" y="388"/>
                        <a:pt x="3442" y="388"/>
                      </a:cubicBezTo>
                      <a:cubicBezTo>
                        <a:pt x="3454" y="388"/>
                        <a:pt x="3464" y="398"/>
                        <a:pt x="3464" y="411"/>
                      </a:cubicBezTo>
                      <a:cubicBezTo>
                        <a:pt x="3464" y="423"/>
                        <a:pt x="3454" y="433"/>
                        <a:pt x="3442" y="433"/>
                      </a:cubicBezTo>
                      <a:close/>
                      <a:moveTo>
                        <a:pt x="3618" y="240"/>
                      </a:moveTo>
                      <a:cubicBezTo>
                        <a:pt x="3575" y="240"/>
                        <a:pt x="3539" y="205"/>
                        <a:pt x="3539" y="161"/>
                      </a:cubicBezTo>
                      <a:cubicBezTo>
                        <a:pt x="3539" y="117"/>
                        <a:pt x="3575" y="82"/>
                        <a:pt x="3618" y="82"/>
                      </a:cubicBezTo>
                      <a:cubicBezTo>
                        <a:pt x="3662" y="82"/>
                        <a:pt x="3697" y="117"/>
                        <a:pt x="3697" y="161"/>
                      </a:cubicBezTo>
                      <a:cubicBezTo>
                        <a:pt x="3697" y="205"/>
                        <a:pt x="3662" y="240"/>
                        <a:pt x="3618" y="240"/>
                      </a:cubicBezTo>
                      <a:close/>
                      <a:moveTo>
                        <a:pt x="3930" y="414"/>
                      </a:moveTo>
                      <a:cubicBezTo>
                        <a:pt x="3907" y="414"/>
                        <a:pt x="3888" y="395"/>
                        <a:pt x="3888" y="371"/>
                      </a:cubicBezTo>
                      <a:cubicBezTo>
                        <a:pt x="3888" y="348"/>
                        <a:pt x="3907" y="329"/>
                        <a:pt x="3930" y="329"/>
                      </a:cubicBezTo>
                      <a:cubicBezTo>
                        <a:pt x="3954" y="329"/>
                        <a:pt x="3973" y="348"/>
                        <a:pt x="3973" y="371"/>
                      </a:cubicBezTo>
                      <a:cubicBezTo>
                        <a:pt x="3973" y="395"/>
                        <a:pt x="3954" y="414"/>
                        <a:pt x="3930" y="4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sp>
            <p:nvSpPr>
              <p:cNvPr id="25" name="Rechteck 24"/>
              <p:cNvSpPr/>
              <p:nvPr userDrawn="1"/>
            </p:nvSpPr>
            <p:spPr>
              <a:xfrm>
                <a:off x="0" y="0"/>
                <a:ext cx="12190413" cy="6858000"/>
              </a:xfrm>
              <a:prstGeom prst="rect">
                <a:avLst/>
              </a:prstGeom>
              <a:gradFill flip="none" rotWithShape="0">
                <a:gsLst>
                  <a:gs pos="0">
                    <a:schemeClr val="tx1">
                      <a:alpha val="90000"/>
                    </a:schemeClr>
                  </a:gs>
                  <a:gs pos="50000">
                    <a:schemeClr val="tx1">
                      <a:lumMod val="85000"/>
                      <a:lumOff val="15000"/>
                      <a:alpha val="50000"/>
                    </a:schemeClr>
                  </a:gs>
                  <a:gs pos="100000">
                    <a:schemeClr val="tx1">
                      <a:lumMod val="65000"/>
                      <a:lumOff val="35000"/>
                      <a:alpha val="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8" name="Titel 1"/>
          <p:cNvSpPr>
            <a:spLocks noGrp="1"/>
          </p:cNvSpPr>
          <p:nvPr>
            <p:ph type="title" hasCustomPrompt="1"/>
          </p:nvPr>
        </p:nvSpPr>
        <p:spPr>
          <a:xfrm>
            <a:off x="1073810" y="1006125"/>
            <a:ext cx="7920000" cy="1709843"/>
          </a:xfrm>
        </p:spPr>
        <p:txBody>
          <a:bodyPr tIns="0" anchor="b" anchorCtr="0">
            <a:noAutofit/>
          </a:bodyPr>
          <a:lstStyle>
            <a:lvl1pPr algn="l">
              <a:lnSpc>
                <a:spcPct val="80000"/>
              </a:lnSpc>
              <a:defRPr sz="6000" b="0" cap="none" baseline="0">
                <a:solidFill>
                  <a:schemeClr val="bg1"/>
                </a:solidFill>
                <a:latin typeface="Bebas Neue" panose="020B0506020202020201" pitchFamily="34" charset="0"/>
              </a:defRPr>
            </a:lvl1pPr>
          </a:lstStyle>
          <a:p>
            <a:r>
              <a:rPr lang="de-DE" dirty="0"/>
              <a:t>SECTION TITLE</a:t>
            </a:r>
            <a:endParaRPr lang="en-US" dirty="0"/>
          </a:p>
        </p:txBody>
      </p:sp>
      <p:sp>
        <p:nvSpPr>
          <p:cNvPr id="29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073814" y="2715967"/>
            <a:ext cx="7920000" cy="666000"/>
          </a:xfrm>
        </p:spPr>
        <p:txBody>
          <a:bodyPr vert="horz" lIns="10798" tIns="0" rIns="0" bIns="0" rtlCol="0" anchor="t" anchorCtr="0">
            <a:noAutofit/>
          </a:bodyPr>
          <a:lstStyle>
            <a:lvl1pPr>
              <a:defRPr lang="de-DE" sz="32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80000"/>
              </a:lnSpc>
              <a:buNone/>
            </a:pPr>
            <a:r>
              <a:rPr lang="de-DE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1192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2" y="1483952"/>
            <a:ext cx="1113441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01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1" y="1483952"/>
            <a:ext cx="846000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43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6"/>
          </p:nvPr>
        </p:nvSpPr>
        <p:spPr>
          <a:xfrm>
            <a:off x="6310800" y="1476439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890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6"/>
          </p:nvPr>
        </p:nvSpPr>
        <p:spPr>
          <a:xfrm>
            <a:off x="6310803" y="1483952"/>
            <a:ext cx="5879612" cy="432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33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3" y="942477"/>
            <a:ext cx="11133137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63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63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-279401" y="5"/>
            <a:ext cx="12749214" cy="6869863"/>
            <a:chOff x="-279401" y="0"/>
            <a:chExt cx="12749213" cy="6869863"/>
          </a:xfrm>
        </p:grpSpPr>
        <p:grpSp>
          <p:nvGrpSpPr>
            <p:cNvPr id="33" name="Gruppieren 32"/>
            <p:cNvGrpSpPr/>
            <p:nvPr userDrawn="1"/>
          </p:nvGrpSpPr>
          <p:grpSpPr>
            <a:xfrm>
              <a:off x="0" y="0"/>
              <a:ext cx="12190413" cy="6858000"/>
              <a:chOff x="0" y="0"/>
              <a:chExt cx="12190413" cy="6858000"/>
            </a:xfrm>
            <a:solidFill>
              <a:schemeClr val="accent1">
                <a:lumMod val="50000"/>
              </a:schemeClr>
            </a:solidFill>
          </p:grpSpPr>
          <p:sp>
            <p:nvSpPr>
              <p:cNvPr id="34" name="Rechteck 33"/>
              <p:cNvSpPr/>
              <p:nvPr userDrawn="1"/>
            </p:nvSpPr>
            <p:spPr bwMode="auto">
              <a:xfrm>
                <a:off x="0" y="0"/>
                <a:ext cx="12190413" cy="6858000"/>
              </a:xfrm>
              <a:prstGeom prst="rect">
                <a:avLst/>
              </a:pr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31" tIns="45715" rIns="91431" bIns="45715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grpSp>
            <p:nvGrpSpPr>
              <p:cNvPr id="35" name="Gruppieren 34"/>
              <p:cNvGrpSpPr/>
              <p:nvPr userDrawn="1"/>
            </p:nvGrpSpPr>
            <p:grpSpPr>
              <a:xfrm>
                <a:off x="80228" y="4852085"/>
                <a:ext cx="12110185" cy="2005914"/>
                <a:chOff x="80228" y="4852085"/>
                <a:chExt cx="12110185" cy="2005914"/>
              </a:xfrm>
              <a:grpFill/>
            </p:grpSpPr>
            <p:sp>
              <p:nvSpPr>
                <p:cNvPr id="37" name="Freeform 15"/>
                <p:cNvSpPr>
                  <a:spLocks/>
                </p:cNvSpPr>
                <p:nvPr userDrawn="1"/>
              </p:nvSpPr>
              <p:spPr bwMode="auto">
                <a:xfrm>
                  <a:off x="80228" y="4852085"/>
                  <a:ext cx="12108033" cy="2001797"/>
                </a:xfrm>
                <a:custGeom>
                  <a:avLst/>
                  <a:gdLst>
                    <a:gd name="T0" fmla="*/ 453 w 453"/>
                    <a:gd name="T1" fmla="*/ 54 h 54"/>
                    <a:gd name="T2" fmla="*/ 453 w 453"/>
                    <a:gd name="T3" fmla="*/ 18 h 54"/>
                    <a:gd name="T4" fmla="*/ 278 w 453"/>
                    <a:gd name="T5" fmla="*/ 0 h 54"/>
                    <a:gd name="T6" fmla="*/ 0 w 453"/>
                    <a:gd name="T7" fmla="*/ 54 h 54"/>
                    <a:gd name="T8" fmla="*/ 453 w 453"/>
                    <a:gd name="T9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3" h="54">
                      <a:moveTo>
                        <a:pt x="453" y="54"/>
                      </a:moveTo>
                      <a:cubicBezTo>
                        <a:pt x="453" y="18"/>
                        <a:pt x="453" y="18"/>
                        <a:pt x="453" y="18"/>
                      </a:cubicBezTo>
                      <a:cubicBezTo>
                        <a:pt x="402" y="7"/>
                        <a:pt x="342" y="0"/>
                        <a:pt x="278" y="0"/>
                      </a:cubicBezTo>
                      <a:cubicBezTo>
                        <a:pt x="163" y="0"/>
                        <a:pt x="62" y="21"/>
                        <a:pt x="0" y="54"/>
                      </a:cubicBezTo>
                      <a:lnTo>
                        <a:pt x="453" y="54"/>
                      </a:lnTo>
                      <a:close/>
                    </a:path>
                  </a:pathLst>
                </a:custGeom>
                <a:grpFill/>
                <a:ln w="857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8" name="Freeform 15"/>
                <p:cNvSpPr>
                  <a:spLocks/>
                </p:cNvSpPr>
                <p:nvPr userDrawn="1"/>
              </p:nvSpPr>
              <p:spPr bwMode="auto">
                <a:xfrm>
                  <a:off x="2191718" y="5482769"/>
                  <a:ext cx="9998695" cy="1375230"/>
                </a:xfrm>
                <a:custGeom>
                  <a:avLst/>
                  <a:gdLst>
                    <a:gd name="T0" fmla="*/ 453 w 453"/>
                    <a:gd name="T1" fmla="*/ 54 h 54"/>
                    <a:gd name="T2" fmla="*/ 453 w 453"/>
                    <a:gd name="T3" fmla="*/ 18 h 54"/>
                    <a:gd name="T4" fmla="*/ 278 w 453"/>
                    <a:gd name="T5" fmla="*/ 0 h 54"/>
                    <a:gd name="T6" fmla="*/ 0 w 453"/>
                    <a:gd name="T7" fmla="*/ 54 h 54"/>
                    <a:gd name="T8" fmla="*/ 453 w 453"/>
                    <a:gd name="T9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3" h="54">
                      <a:moveTo>
                        <a:pt x="453" y="54"/>
                      </a:moveTo>
                      <a:cubicBezTo>
                        <a:pt x="453" y="18"/>
                        <a:pt x="453" y="18"/>
                        <a:pt x="453" y="18"/>
                      </a:cubicBezTo>
                      <a:cubicBezTo>
                        <a:pt x="402" y="7"/>
                        <a:pt x="342" y="0"/>
                        <a:pt x="278" y="0"/>
                      </a:cubicBezTo>
                      <a:cubicBezTo>
                        <a:pt x="163" y="0"/>
                        <a:pt x="62" y="21"/>
                        <a:pt x="0" y="54"/>
                      </a:cubicBezTo>
                      <a:lnTo>
                        <a:pt x="453" y="54"/>
                      </a:lnTo>
                      <a:close/>
                    </a:path>
                  </a:pathLst>
                </a:custGeom>
                <a:grpFill/>
                <a:ln w="857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</p:grpSp>
        <p:grpSp>
          <p:nvGrpSpPr>
            <p:cNvPr id="22" name="Gruppieren 21"/>
            <p:cNvGrpSpPr/>
            <p:nvPr userDrawn="1"/>
          </p:nvGrpSpPr>
          <p:grpSpPr>
            <a:xfrm>
              <a:off x="-279401" y="3058276"/>
              <a:ext cx="12749213" cy="3163887"/>
              <a:chOff x="-276225" y="3046413"/>
              <a:chExt cx="12749213" cy="3163887"/>
            </a:xfrm>
            <a:solidFill>
              <a:schemeClr val="bg1"/>
            </a:solidFill>
          </p:grpSpPr>
          <p:sp>
            <p:nvSpPr>
              <p:cNvPr id="40" name="Freeform 7"/>
              <p:cNvSpPr>
                <a:spLocks noEditPoints="1"/>
              </p:cNvSpPr>
              <p:nvPr userDrawn="1"/>
            </p:nvSpPr>
            <p:spPr bwMode="auto">
              <a:xfrm>
                <a:off x="-276225" y="3046413"/>
                <a:ext cx="12749213" cy="3163887"/>
              </a:xfrm>
              <a:custGeom>
                <a:avLst/>
                <a:gdLst>
                  <a:gd name="T0" fmla="*/ 3618 w 4014"/>
                  <a:gd name="T1" fmla="*/ 28 h 996"/>
                  <a:gd name="T2" fmla="*/ 3397 w 4014"/>
                  <a:gd name="T3" fmla="*/ 411 h 996"/>
                  <a:gd name="T4" fmla="*/ 2836 w 4014"/>
                  <a:gd name="T5" fmla="*/ 365 h 996"/>
                  <a:gd name="T6" fmla="*/ 2841 w 4014"/>
                  <a:gd name="T7" fmla="*/ 65 h 996"/>
                  <a:gd name="T8" fmla="*/ 2685 w 4014"/>
                  <a:gd name="T9" fmla="*/ 168 h 996"/>
                  <a:gd name="T10" fmla="*/ 2523 w 4014"/>
                  <a:gd name="T11" fmla="*/ 134 h 996"/>
                  <a:gd name="T12" fmla="*/ 2553 w 4014"/>
                  <a:gd name="T13" fmla="*/ 407 h 996"/>
                  <a:gd name="T14" fmla="*/ 1431 w 4014"/>
                  <a:gd name="T15" fmla="*/ 508 h 996"/>
                  <a:gd name="T16" fmla="*/ 1378 w 4014"/>
                  <a:gd name="T17" fmla="*/ 180 h 996"/>
                  <a:gd name="T18" fmla="*/ 1149 w 4014"/>
                  <a:gd name="T19" fmla="*/ 430 h 996"/>
                  <a:gd name="T20" fmla="*/ 794 w 4014"/>
                  <a:gd name="T21" fmla="*/ 80 h 996"/>
                  <a:gd name="T22" fmla="*/ 780 w 4014"/>
                  <a:gd name="T23" fmla="*/ 87 h 996"/>
                  <a:gd name="T24" fmla="*/ 706 w 4014"/>
                  <a:gd name="T25" fmla="*/ 344 h 996"/>
                  <a:gd name="T26" fmla="*/ 231 w 4014"/>
                  <a:gd name="T27" fmla="*/ 199 h 996"/>
                  <a:gd name="T28" fmla="*/ 84 w 4014"/>
                  <a:gd name="T29" fmla="*/ 207 h 996"/>
                  <a:gd name="T30" fmla="*/ 230 w 4014"/>
                  <a:gd name="T31" fmla="*/ 516 h 996"/>
                  <a:gd name="T32" fmla="*/ 244 w 4014"/>
                  <a:gd name="T33" fmla="*/ 523 h 996"/>
                  <a:gd name="T34" fmla="*/ 653 w 4014"/>
                  <a:gd name="T35" fmla="*/ 397 h 996"/>
                  <a:gd name="T36" fmla="*/ 902 w 4014"/>
                  <a:gd name="T37" fmla="*/ 346 h 996"/>
                  <a:gd name="T38" fmla="*/ 1068 w 4014"/>
                  <a:gd name="T39" fmla="*/ 567 h 996"/>
                  <a:gd name="T40" fmla="*/ 1073 w 4014"/>
                  <a:gd name="T41" fmla="*/ 583 h 996"/>
                  <a:gd name="T42" fmla="*/ 1341 w 4014"/>
                  <a:gd name="T43" fmla="*/ 711 h 996"/>
                  <a:gd name="T44" fmla="*/ 1353 w 4014"/>
                  <a:gd name="T45" fmla="*/ 641 h 996"/>
                  <a:gd name="T46" fmla="*/ 2350 w 4014"/>
                  <a:gd name="T47" fmla="*/ 651 h 996"/>
                  <a:gd name="T48" fmla="*/ 2757 w 4014"/>
                  <a:gd name="T49" fmla="*/ 535 h 996"/>
                  <a:gd name="T50" fmla="*/ 2773 w 4014"/>
                  <a:gd name="T51" fmla="*/ 530 h 996"/>
                  <a:gd name="T52" fmla="*/ 3085 w 4014"/>
                  <a:gd name="T53" fmla="*/ 622 h 996"/>
                  <a:gd name="T54" fmla="*/ 3065 w 4014"/>
                  <a:gd name="T55" fmla="*/ 833 h 996"/>
                  <a:gd name="T56" fmla="*/ 3459 w 4014"/>
                  <a:gd name="T57" fmla="*/ 656 h 996"/>
                  <a:gd name="T58" fmla="*/ 3464 w 4014"/>
                  <a:gd name="T59" fmla="*/ 641 h 996"/>
                  <a:gd name="T60" fmla="*/ 3442 w 4014"/>
                  <a:gd name="T61" fmla="*/ 456 h 996"/>
                  <a:gd name="T62" fmla="*/ 3726 w 4014"/>
                  <a:gd name="T63" fmla="*/ 244 h 996"/>
                  <a:gd name="T64" fmla="*/ 3930 w 4014"/>
                  <a:gd name="T65" fmla="*/ 287 h 996"/>
                  <a:gd name="T66" fmla="*/ 2796 w 4014"/>
                  <a:gd name="T67" fmla="*/ 42 h 996"/>
                  <a:gd name="T68" fmla="*/ 2536 w 4014"/>
                  <a:gd name="T69" fmla="*/ 134 h 996"/>
                  <a:gd name="T70" fmla="*/ 1378 w 4014"/>
                  <a:gd name="T71" fmla="*/ 202 h 996"/>
                  <a:gd name="T72" fmla="*/ 744 w 4014"/>
                  <a:gd name="T73" fmla="*/ 45 h 996"/>
                  <a:gd name="T74" fmla="*/ 84 w 4014"/>
                  <a:gd name="T75" fmla="*/ 166 h 996"/>
                  <a:gd name="T76" fmla="*/ 214 w 4014"/>
                  <a:gd name="T77" fmla="*/ 593 h 996"/>
                  <a:gd name="T78" fmla="*/ 388 w 4014"/>
                  <a:gd name="T79" fmla="*/ 385 h 996"/>
                  <a:gd name="T80" fmla="*/ 706 w 4014"/>
                  <a:gd name="T81" fmla="*/ 423 h 996"/>
                  <a:gd name="T82" fmla="*/ 902 w 4014"/>
                  <a:gd name="T83" fmla="*/ 298 h 996"/>
                  <a:gd name="T84" fmla="*/ 1028 w 4014"/>
                  <a:gd name="T85" fmla="*/ 611 h 996"/>
                  <a:gd name="T86" fmla="*/ 1408 w 4014"/>
                  <a:gd name="T87" fmla="*/ 711 h 996"/>
                  <a:gd name="T88" fmla="*/ 1279 w 4014"/>
                  <a:gd name="T89" fmla="*/ 595 h 996"/>
                  <a:gd name="T90" fmla="*/ 2005 w 4014"/>
                  <a:gd name="T91" fmla="*/ 866 h 996"/>
                  <a:gd name="T92" fmla="*/ 2835 w 4014"/>
                  <a:gd name="T93" fmla="*/ 611 h 996"/>
                  <a:gd name="T94" fmla="*/ 2685 w 4014"/>
                  <a:gd name="T95" fmla="*/ 413 h 996"/>
                  <a:gd name="T96" fmla="*/ 3020 w 4014"/>
                  <a:gd name="T97" fmla="*/ 855 h 996"/>
                  <a:gd name="T98" fmla="*/ 3147 w 4014"/>
                  <a:gd name="T99" fmla="*/ 564 h 996"/>
                  <a:gd name="T100" fmla="*/ 3540 w 4014"/>
                  <a:gd name="T101" fmla="*/ 633 h 996"/>
                  <a:gd name="T102" fmla="*/ 3442 w 4014"/>
                  <a:gd name="T103" fmla="*/ 433 h 996"/>
                  <a:gd name="T104" fmla="*/ 3618 w 4014"/>
                  <a:gd name="T105" fmla="*/ 240 h 996"/>
                  <a:gd name="T106" fmla="*/ 3930 w 4014"/>
                  <a:gd name="T107" fmla="*/ 414 h 9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14" h="996">
                    <a:moveTo>
                      <a:pt x="3930" y="287"/>
                    </a:moveTo>
                    <a:cubicBezTo>
                      <a:pt x="3903" y="287"/>
                      <a:pt x="3880" y="300"/>
                      <a:pt x="3864" y="320"/>
                    </a:cubicBezTo>
                    <a:cubicBezTo>
                      <a:pt x="3735" y="231"/>
                      <a:pt x="3735" y="231"/>
                      <a:pt x="3735" y="231"/>
                    </a:cubicBezTo>
                    <a:cubicBezTo>
                      <a:pt x="3747" y="211"/>
                      <a:pt x="3753" y="188"/>
                      <a:pt x="3753" y="163"/>
                    </a:cubicBezTo>
                    <a:cubicBezTo>
                      <a:pt x="3753" y="88"/>
                      <a:pt x="3693" y="28"/>
                      <a:pt x="3618" y="28"/>
                    </a:cubicBezTo>
                    <a:cubicBezTo>
                      <a:pt x="3544" y="28"/>
                      <a:pt x="3483" y="88"/>
                      <a:pt x="3483" y="163"/>
                    </a:cubicBezTo>
                    <a:cubicBezTo>
                      <a:pt x="3483" y="207"/>
                      <a:pt x="3505" y="247"/>
                      <a:pt x="3538" y="272"/>
                    </a:cubicBezTo>
                    <a:cubicBezTo>
                      <a:pt x="3464" y="372"/>
                      <a:pt x="3464" y="372"/>
                      <a:pt x="3464" y="372"/>
                    </a:cubicBezTo>
                    <a:cubicBezTo>
                      <a:pt x="3458" y="368"/>
                      <a:pt x="3450" y="366"/>
                      <a:pt x="3442" y="366"/>
                    </a:cubicBezTo>
                    <a:cubicBezTo>
                      <a:pt x="3417" y="366"/>
                      <a:pt x="3397" y="386"/>
                      <a:pt x="3397" y="411"/>
                    </a:cubicBezTo>
                    <a:cubicBezTo>
                      <a:pt x="3397" y="412"/>
                      <a:pt x="3397" y="412"/>
                      <a:pt x="3397" y="413"/>
                    </a:cubicBezTo>
                    <a:cubicBezTo>
                      <a:pt x="3304" y="424"/>
                      <a:pt x="3304" y="424"/>
                      <a:pt x="3304" y="424"/>
                    </a:cubicBezTo>
                    <a:cubicBezTo>
                      <a:pt x="3284" y="357"/>
                      <a:pt x="3221" y="307"/>
                      <a:pt x="3147" y="307"/>
                    </a:cubicBezTo>
                    <a:cubicBezTo>
                      <a:pt x="3077" y="307"/>
                      <a:pt x="3017" y="351"/>
                      <a:pt x="2994" y="414"/>
                    </a:cubicBezTo>
                    <a:cubicBezTo>
                      <a:pt x="2836" y="365"/>
                      <a:pt x="2836" y="365"/>
                      <a:pt x="2836" y="365"/>
                    </a:cubicBezTo>
                    <a:cubicBezTo>
                      <a:pt x="2839" y="352"/>
                      <a:pt x="2841" y="338"/>
                      <a:pt x="2841" y="324"/>
                    </a:cubicBezTo>
                    <a:cubicBezTo>
                      <a:pt x="2841" y="263"/>
                      <a:pt x="2807" y="211"/>
                      <a:pt x="2757" y="185"/>
                    </a:cubicBezTo>
                    <a:cubicBezTo>
                      <a:pt x="2787" y="109"/>
                      <a:pt x="2787" y="109"/>
                      <a:pt x="2787" y="109"/>
                    </a:cubicBezTo>
                    <a:cubicBezTo>
                      <a:pt x="2790" y="109"/>
                      <a:pt x="2793" y="110"/>
                      <a:pt x="2796" y="110"/>
                    </a:cubicBezTo>
                    <a:cubicBezTo>
                      <a:pt x="2821" y="110"/>
                      <a:pt x="2841" y="89"/>
                      <a:pt x="2841" y="65"/>
                    </a:cubicBezTo>
                    <a:cubicBezTo>
                      <a:pt x="2841" y="40"/>
                      <a:pt x="2821" y="20"/>
                      <a:pt x="2796" y="20"/>
                    </a:cubicBezTo>
                    <a:cubicBezTo>
                      <a:pt x="2771" y="20"/>
                      <a:pt x="2751" y="40"/>
                      <a:pt x="2751" y="65"/>
                    </a:cubicBezTo>
                    <a:cubicBezTo>
                      <a:pt x="2751" y="81"/>
                      <a:pt x="2760" y="95"/>
                      <a:pt x="2772" y="103"/>
                    </a:cubicBezTo>
                    <a:cubicBezTo>
                      <a:pt x="2742" y="179"/>
                      <a:pt x="2742" y="179"/>
                      <a:pt x="2742" y="179"/>
                    </a:cubicBezTo>
                    <a:cubicBezTo>
                      <a:pt x="2724" y="172"/>
                      <a:pt x="2705" y="168"/>
                      <a:pt x="2685" y="168"/>
                    </a:cubicBezTo>
                    <a:cubicBezTo>
                      <a:pt x="2658" y="168"/>
                      <a:pt x="2632" y="175"/>
                      <a:pt x="2609" y="188"/>
                    </a:cubicBezTo>
                    <a:cubicBezTo>
                      <a:pt x="2575" y="151"/>
                      <a:pt x="2575" y="151"/>
                      <a:pt x="2575" y="151"/>
                    </a:cubicBezTo>
                    <a:cubicBezTo>
                      <a:pt x="2579" y="146"/>
                      <a:pt x="2581" y="140"/>
                      <a:pt x="2581" y="134"/>
                    </a:cubicBezTo>
                    <a:cubicBezTo>
                      <a:pt x="2581" y="118"/>
                      <a:pt x="2568" y="105"/>
                      <a:pt x="2552" y="105"/>
                    </a:cubicBezTo>
                    <a:cubicBezTo>
                      <a:pt x="2536" y="105"/>
                      <a:pt x="2523" y="118"/>
                      <a:pt x="2523" y="134"/>
                    </a:cubicBezTo>
                    <a:cubicBezTo>
                      <a:pt x="2523" y="150"/>
                      <a:pt x="2536" y="163"/>
                      <a:pt x="2552" y="163"/>
                    </a:cubicBezTo>
                    <a:cubicBezTo>
                      <a:pt x="2556" y="163"/>
                      <a:pt x="2559" y="162"/>
                      <a:pt x="2563" y="161"/>
                    </a:cubicBezTo>
                    <a:cubicBezTo>
                      <a:pt x="2595" y="196"/>
                      <a:pt x="2595" y="196"/>
                      <a:pt x="2595" y="196"/>
                    </a:cubicBezTo>
                    <a:cubicBezTo>
                      <a:pt x="2555" y="225"/>
                      <a:pt x="2529" y="271"/>
                      <a:pt x="2529" y="324"/>
                    </a:cubicBezTo>
                    <a:cubicBezTo>
                      <a:pt x="2529" y="354"/>
                      <a:pt x="2538" y="383"/>
                      <a:pt x="2553" y="407"/>
                    </a:cubicBezTo>
                    <a:cubicBezTo>
                      <a:pt x="2334" y="546"/>
                      <a:pt x="2334" y="546"/>
                      <a:pt x="2334" y="546"/>
                    </a:cubicBezTo>
                    <a:cubicBezTo>
                      <a:pt x="2290" y="407"/>
                      <a:pt x="2159" y="306"/>
                      <a:pt x="2005" y="306"/>
                    </a:cubicBezTo>
                    <a:cubicBezTo>
                      <a:pt x="1840" y="306"/>
                      <a:pt x="1702" y="422"/>
                      <a:pt x="1668" y="577"/>
                    </a:cubicBezTo>
                    <a:cubicBezTo>
                      <a:pt x="1429" y="537"/>
                      <a:pt x="1429" y="537"/>
                      <a:pt x="1429" y="537"/>
                    </a:cubicBezTo>
                    <a:cubicBezTo>
                      <a:pt x="1430" y="527"/>
                      <a:pt x="1431" y="518"/>
                      <a:pt x="1431" y="508"/>
                    </a:cubicBezTo>
                    <a:cubicBezTo>
                      <a:pt x="1431" y="442"/>
                      <a:pt x="1390" y="386"/>
                      <a:pt x="1331" y="365"/>
                    </a:cubicBezTo>
                    <a:cubicBezTo>
                      <a:pt x="1374" y="269"/>
                      <a:pt x="1374" y="269"/>
                      <a:pt x="1374" y="269"/>
                    </a:cubicBezTo>
                    <a:cubicBezTo>
                      <a:pt x="1375" y="270"/>
                      <a:pt x="1377" y="270"/>
                      <a:pt x="1378" y="270"/>
                    </a:cubicBezTo>
                    <a:cubicBezTo>
                      <a:pt x="1403" y="270"/>
                      <a:pt x="1423" y="249"/>
                      <a:pt x="1423" y="225"/>
                    </a:cubicBezTo>
                    <a:cubicBezTo>
                      <a:pt x="1423" y="200"/>
                      <a:pt x="1403" y="180"/>
                      <a:pt x="1378" y="180"/>
                    </a:cubicBezTo>
                    <a:cubicBezTo>
                      <a:pt x="1353" y="180"/>
                      <a:pt x="1333" y="200"/>
                      <a:pt x="1333" y="225"/>
                    </a:cubicBezTo>
                    <a:cubicBezTo>
                      <a:pt x="1333" y="242"/>
                      <a:pt x="1343" y="258"/>
                      <a:pt x="1358" y="265"/>
                    </a:cubicBezTo>
                    <a:cubicBezTo>
                      <a:pt x="1316" y="360"/>
                      <a:pt x="1316" y="360"/>
                      <a:pt x="1316" y="360"/>
                    </a:cubicBezTo>
                    <a:cubicBezTo>
                      <a:pt x="1304" y="358"/>
                      <a:pt x="1292" y="356"/>
                      <a:pt x="1279" y="356"/>
                    </a:cubicBezTo>
                    <a:cubicBezTo>
                      <a:pt x="1224" y="356"/>
                      <a:pt x="1176" y="385"/>
                      <a:pt x="1149" y="430"/>
                    </a:cubicBezTo>
                    <a:cubicBezTo>
                      <a:pt x="994" y="297"/>
                      <a:pt x="994" y="297"/>
                      <a:pt x="994" y="297"/>
                    </a:cubicBezTo>
                    <a:cubicBezTo>
                      <a:pt x="1006" y="280"/>
                      <a:pt x="1013" y="258"/>
                      <a:pt x="1013" y="235"/>
                    </a:cubicBezTo>
                    <a:cubicBezTo>
                      <a:pt x="1013" y="174"/>
                      <a:pt x="964" y="124"/>
                      <a:pt x="902" y="124"/>
                    </a:cubicBezTo>
                    <a:cubicBezTo>
                      <a:pt x="879" y="124"/>
                      <a:pt x="858" y="131"/>
                      <a:pt x="840" y="143"/>
                    </a:cubicBezTo>
                    <a:cubicBezTo>
                      <a:pt x="794" y="80"/>
                      <a:pt x="794" y="80"/>
                      <a:pt x="794" y="80"/>
                    </a:cubicBezTo>
                    <a:cubicBezTo>
                      <a:pt x="804" y="72"/>
                      <a:pt x="811" y="59"/>
                      <a:pt x="811" y="45"/>
                    </a:cubicBezTo>
                    <a:cubicBezTo>
                      <a:pt x="811" y="20"/>
                      <a:pt x="791" y="0"/>
                      <a:pt x="766" y="0"/>
                    </a:cubicBezTo>
                    <a:cubicBezTo>
                      <a:pt x="741" y="0"/>
                      <a:pt x="721" y="20"/>
                      <a:pt x="721" y="45"/>
                    </a:cubicBezTo>
                    <a:cubicBezTo>
                      <a:pt x="721" y="69"/>
                      <a:pt x="741" y="90"/>
                      <a:pt x="766" y="90"/>
                    </a:cubicBezTo>
                    <a:cubicBezTo>
                      <a:pt x="771" y="90"/>
                      <a:pt x="775" y="89"/>
                      <a:pt x="780" y="87"/>
                    </a:cubicBezTo>
                    <a:cubicBezTo>
                      <a:pt x="827" y="153"/>
                      <a:pt x="827" y="153"/>
                      <a:pt x="827" y="153"/>
                    </a:cubicBezTo>
                    <a:cubicBezTo>
                      <a:pt x="805" y="173"/>
                      <a:pt x="791" y="203"/>
                      <a:pt x="791" y="235"/>
                    </a:cubicBezTo>
                    <a:cubicBezTo>
                      <a:pt x="791" y="256"/>
                      <a:pt x="797" y="276"/>
                      <a:pt x="808" y="293"/>
                    </a:cubicBezTo>
                    <a:cubicBezTo>
                      <a:pt x="741" y="357"/>
                      <a:pt x="741" y="357"/>
                      <a:pt x="741" y="357"/>
                    </a:cubicBezTo>
                    <a:cubicBezTo>
                      <a:pt x="732" y="349"/>
                      <a:pt x="719" y="344"/>
                      <a:pt x="706" y="344"/>
                    </a:cubicBezTo>
                    <a:cubicBezTo>
                      <a:pt x="686" y="344"/>
                      <a:pt x="669" y="355"/>
                      <a:pt x="660" y="371"/>
                    </a:cubicBezTo>
                    <a:cubicBezTo>
                      <a:pt x="564" y="325"/>
                      <a:pt x="564" y="325"/>
                      <a:pt x="564" y="325"/>
                    </a:cubicBezTo>
                    <a:cubicBezTo>
                      <a:pt x="567" y="312"/>
                      <a:pt x="569" y="298"/>
                      <a:pt x="569" y="285"/>
                    </a:cubicBezTo>
                    <a:cubicBezTo>
                      <a:pt x="569" y="188"/>
                      <a:pt x="488" y="109"/>
                      <a:pt x="388" y="109"/>
                    </a:cubicBezTo>
                    <a:cubicBezTo>
                      <a:pt x="320" y="109"/>
                      <a:pt x="261" y="146"/>
                      <a:pt x="231" y="199"/>
                    </a:cubicBezTo>
                    <a:cubicBezTo>
                      <a:pt x="162" y="155"/>
                      <a:pt x="162" y="155"/>
                      <a:pt x="162" y="155"/>
                    </a:cubicBezTo>
                    <a:cubicBezTo>
                      <a:pt x="166" y="145"/>
                      <a:pt x="168" y="135"/>
                      <a:pt x="168" y="123"/>
                    </a:cubicBezTo>
                    <a:cubicBezTo>
                      <a:pt x="168" y="77"/>
                      <a:pt x="131" y="39"/>
                      <a:pt x="84" y="39"/>
                    </a:cubicBezTo>
                    <a:cubicBezTo>
                      <a:pt x="38" y="39"/>
                      <a:pt x="0" y="77"/>
                      <a:pt x="0" y="123"/>
                    </a:cubicBezTo>
                    <a:cubicBezTo>
                      <a:pt x="0" y="170"/>
                      <a:pt x="38" y="207"/>
                      <a:pt x="84" y="207"/>
                    </a:cubicBezTo>
                    <a:cubicBezTo>
                      <a:pt x="114" y="207"/>
                      <a:pt x="139" y="192"/>
                      <a:pt x="154" y="170"/>
                    </a:cubicBezTo>
                    <a:cubicBezTo>
                      <a:pt x="223" y="214"/>
                      <a:pt x="223" y="214"/>
                      <a:pt x="223" y="214"/>
                    </a:cubicBezTo>
                    <a:cubicBezTo>
                      <a:pt x="213" y="235"/>
                      <a:pt x="208" y="259"/>
                      <a:pt x="208" y="285"/>
                    </a:cubicBezTo>
                    <a:cubicBezTo>
                      <a:pt x="208" y="344"/>
                      <a:pt x="239" y="397"/>
                      <a:pt x="286" y="429"/>
                    </a:cubicBezTo>
                    <a:cubicBezTo>
                      <a:pt x="230" y="516"/>
                      <a:pt x="230" y="516"/>
                      <a:pt x="230" y="516"/>
                    </a:cubicBezTo>
                    <a:cubicBezTo>
                      <a:pt x="225" y="514"/>
                      <a:pt x="220" y="514"/>
                      <a:pt x="214" y="514"/>
                    </a:cubicBezTo>
                    <a:cubicBezTo>
                      <a:pt x="185" y="514"/>
                      <a:pt x="161" y="537"/>
                      <a:pt x="161" y="567"/>
                    </a:cubicBezTo>
                    <a:cubicBezTo>
                      <a:pt x="161" y="596"/>
                      <a:pt x="185" y="620"/>
                      <a:pt x="214" y="620"/>
                    </a:cubicBezTo>
                    <a:cubicBezTo>
                      <a:pt x="243" y="620"/>
                      <a:pt x="267" y="596"/>
                      <a:pt x="267" y="567"/>
                    </a:cubicBezTo>
                    <a:cubicBezTo>
                      <a:pt x="267" y="549"/>
                      <a:pt x="258" y="533"/>
                      <a:pt x="244" y="523"/>
                    </a:cubicBezTo>
                    <a:cubicBezTo>
                      <a:pt x="300" y="437"/>
                      <a:pt x="300" y="437"/>
                      <a:pt x="300" y="437"/>
                    </a:cubicBezTo>
                    <a:cubicBezTo>
                      <a:pt x="326" y="452"/>
                      <a:pt x="356" y="460"/>
                      <a:pt x="388" y="460"/>
                    </a:cubicBezTo>
                    <a:cubicBezTo>
                      <a:pt x="468" y="460"/>
                      <a:pt x="535" y="410"/>
                      <a:pt x="559" y="340"/>
                    </a:cubicBezTo>
                    <a:cubicBezTo>
                      <a:pt x="654" y="386"/>
                      <a:pt x="654" y="386"/>
                      <a:pt x="654" y="386"/>
                    </a:cubicBezTo>
                    <a:cubicBezTo>
                      <a:pt x="653" y="389"/>
                      <a:pt x="653" y="393"/>
                      <a:pt x="653" y="397"/>
                    </a:cubicBezTo>
                    <a:cubicBezTo>
                      <a:pt x="653" y="426"/>
                      <a:pt x="677" y="450"/>
                      <a:pt x="706" y="450"/>
                    </a:cubicBezTo>
                    <a:cubicBezTo>
                      <a:pt x="735" y="450"/>
                      <a:pt x="759" y="426"/>
                      <a:pt x="759" y="397"/>
                    </a:cubicBezTo>
                    <a:cubicBezTo>
                      <a:pt x="759" y="387"/>
                      <a:pt x="756" y="377"/>
                      <a:pt x="751" y="369"/>
                    </a:cubicBezTo>
                    <a:cubicBezTo>
                      <a:pt x="817" y="306"/>
                      <a:pt x="817" y="306"/>
                      <a:pt x="817" y="306"/>
                    </a:cubicBezTo>
                    <a:cubicBezTo>
                      <a:pt x="838" y="331"/>
                      <a:pt x="868" y="346"/>
                      <a:pt x="902" y="346"/>
                    </a:cubicBezTo>
                    <a:cubicBezTo>
                      <a:pt x="935" y="346"/>
                      <a:pt x="964" y="332"/>
                      <a:pt x="984" y="310"/>
                    </a:cubicBezTo>
                    <a:cubicBezTo>
                      <a:pt x="1141" y="444"/>
                      <a:pt x="1141" y="444"/>
                      <a:pt x="1141" y="444"/>
                    </a:cubicBezTo>
                    <a:cubicBezTo>
                      <a:pt x="1132" y="463"/>
                      <a:pt x="1127" y="485"/>
                      <a:pt x="1127" y="508"/>
                    </a:cubicBezTo>
                    <a:cubicBezTo>
                      <a:pt x="1127" y="520"/>
                      <a:pt x="1129" y="532"/>
                      <a:pt x="1132" y="544"/>
                    </a:cubicBezTo>
                    <a:cubicBezTo>
                      <a:pt x="1068" y="567"/>
                      <a:pt x="1068" y="567"/>
                      <a:pt x="1068" y="567"/>
                    </a:cubicBezTo>
                    <a:cubicBezTo>
                      <a:pt x="1060" y="553"/>
                      <a:pt x="1045" y="544"/>
                      <a:pt x="1028" y="544"/>
                    </a:cubicBezTo>
                    <a:cubicBezTo>
                      <a:pt x="1003" y="544"/>
                      <a:pt x="983" y="564"/>
                      <a:pt x="983" y="589"/>
                    </a:cubicBezTo>
                    <a:cubicBezTo>
                      <a:pt x="983" y="613"/>
                      <a:pt x="1003" y="634"/>
                      <a:pt x="1028" y="634"/>
                    </a:cubicBezTo>
                    <a:cubicBezTo>
                      <a:pt x="1053" y="634"/>
                      <a:pt x="1073" y="613"/>
                      <a:pt x="1073" y="589"/>
                    </a:cubicBezTo>
                    <a:cubicBezTo>
                      <a:pt x="1073" y="587"/>
                      <a:pt x="1073" y="585"/>
                      <a:pt x="1073" y="583"/>
                    </a:cubicBezTo>
                    <a:cubicBezTo>
                      <a:pt x="1136" y="559"/>
                      <a:pt x="1136" y="559"/>
                      <a:pt x="1136" y="559"/>
                    </a:cubicBezTo>
                    <a:cubicBezTo>
                      <a:pt x="1157" y="618"/>
                      <a:pt x="1213" y="660"/>
                      <a:pt x="1279" y="660"/>
                    </a:cubicBezTo>
                    <a:cubicBezTo>
                      <a:pt x="1300" y="660"/>
                      <a:pt x="1320" y="656"/>
                      <a:pt x="1339" y="648"/>
                    </a:cubicBezTo>
                    <a:cubicBezTo>
                      <a:pt x="1356" y="677"/>
                      <a:pt x="1356" y="677"/>
                      <a:pt x="1356" y="677"/>
                    </a:cubicBezTo>
                    <a:cubicBezTo>
                      <a:pt x="1347" y="685"/>
                      <a:pt x="1341" y="697"/>
                      <a:pt x="1341" y="711"/>
                    </a:cubicBezTo>
                    <a:cubicBezTo>
                      <a:pt x="1341" y="735"/>
                      <a:pt x="1361" y="756"/>
                      <a:pt x="1386" y="756"/>
                    </a:cubicBezTo>
                    <a:cubicBezTo>
                      <a:pt x="1411" y="756"/>
                      <a:pt x="1431" y="735"/>
                      <a:pt x="1431" y="711"/>
                    </a:cubicBezTo>
                    <a:cubicBezTo>
                      <a:pt x="1431" y="686"/>
                      <a:pt x="1411" y="666"/>
                      <a:pt x="1386" y="666"/>
                    </a:cubicBezTo>
                    <a:cubicBezTo>
                      <a:pt x="1380" y="666"/>
                      <a:pt x="1375" y="667"/>
                      <a:pt x="1370" y="669"/>
                    </a:cubicBezTo>
                    <a:cubicBezTo>
                      <a:pt x="1353" y="641"/>
                      <a:pt x="1353" y="641"/>
                      <a:pt x="1353" y="641"/>
                    </a:cubicBezTo>
                    <a:cubicBezTo>
                      <a:pt x="1387" y="622"/>
                      <a:pt x="1413" y="590"/>
                      <a:pt x="1425" y="552"/>
                    </a:cubicBezTo>
                    <a:cubicBezTo>
                      <a:pt x="1665" y="592"/>
                      <a:pt x="1665" y="592"/>
                      <a:pt x="1665" y="592"/>
                    </a:cubicBezTo>
                    <a:cubicBezTo>
                      <a:pt x="1662" y="611"/>
                      <a:pt x="1660" y="631"/>
                      <a:pt x="1660" y="651"/>
                    </a:cubicBezTo>
                    <a:cubicBezTo>
                      <a:pt x="1660" y="841"/>
                      <a:pt x="1814" y="996"/>
                      <a:pt x="2005" y="996"/>
                    </a:cubicBezTo>
                    <a:cubicBezTo>
                      <a:pt x="2196" y="996"/>
                      <a:pt x="2350" y="841"/>
                      <a:pt x="2350" y="651"/>
                    </a:cubicBezTo>
                    <a:cubicBezTo>
                      <a:pt x="2350" y="620"/>
                      <a:pt x="2346" y="591"/>
                      <a:pt x="2338" y="562"/>
                    </a:cubicBezTo>
                    <a:cubicBezTo>
                      <a:pt x="2562" y="420"/>
                      <a:pt x="2562" y="420"/>
                      <a:pt x="2562" y="420"/>
                    </a:cubicBezTo>
                    <a:cubicBezTo>
                      <a:pt x="2591" y="456"/>
                      <a:pt x="2635" y="480"/>
                      <a:pt x="2685" y="480"/>
                    </a:cubicBezTo>
                    <a:cubicBezTo>
                      <a:pt x="2700" y="480"/>
                      <a:pt x="2715" y="478"/>
                      <a:pt x="2728" y="474"/>
                    </a:cubicBezTo>
                    <a:cubicBezTo>
                      <a:pt x="2757" y="535"/>
                      <a:pt x="2757" y="535"/>
                      <a:pt x="2757" y="535"/>
                    </a:cubicBezTo>
                    <a:cubicBezTo>
                      <a:pt x="2728" y="548"/>
                      <a:pt x="2708" y="577"/>
                      <a:pt x="2708" y="611"/>
                    </a:cubicBezTo>
                    <a:cubicBezTo>
                      <a:pt x="2708" y="658"/>
                      <a:pt x="2746" y="695"/>
                      <a:pt x="2792" y="695"/>
                    </a:cubicBezTo>
                    <a:cubicBezTo>
                      <a:pt x="2839" y="695"/>
                      <a:pt x="2876" y="658"/>
                      <a:pt x="2876" y="611"/>
                    </a:cubicBezTo>
                    <a:cubicBezTo>
                      <a:pt x="2876" y="565"/>
                      <a:pt x="2839" y="527"/>
                      <a:pt x="2792" y="527"/>
                    </a:cubicBezTo>
                    <a:cubicBezTo>
                      <a:pt x="2786" y="527"/>
                      <a:pt x="2779" y="528"/>
                      <a:pt x="2773" y="530"/>
                    </a:cubicBezTo>
                    <a:cubicBezTo>
                      <a:pt x="2743" y="469"/>
                      <a:pt x="2743" y="469"/>
                      <a:pt x="2743" y="469"/>
                    </a:cubicBezTo>
                    <a:cubicBezTo>
                      <a:pt x="2783" y="453"/>
                      <a:pt x="2815" y="420"/>
                      <a:pt x="2831" y="380"/>
                    </a:cubicBezTo>
                    <a:cubicBezTo>
                      <a:pt x="2989" y="429"/>
                      <a:pt x="2989" y="429"/>
                      <a:pt x="2989" y="429"/>
                    </a:cubicBezTo>
                    <a:cubicBezTo>
                      <a:pt x="2986" y="442"/>
                      <a:pt x="2984" y="456"/>
                      <a:pt x="2984" y="471"/>
                    </a:cubicBezTo>
                    <a:cubicBezTo>
                      <a:pt x="2984" y="539"/>
                      <a:pt x="3026" y="597"/>
                      <a:pt x="3085" y="622"/>
                    </a:cubicBezTo>
                    <a:cubicBezTo>
                      <a:pt x="3029" y="789"/>
                      <a:pt x="3029" y="789"/>
                      <a:pt x="3029" y="789"/>
                    </a:cubicBezTo>
                    <a:cubicBezTo>
                      <a:pt x="3026" y="788"/>
                      <a:pt x="3023" y="788"/>
                      <a:pt x="3020" y="788"/>
                    </a:cubicBezTo>
                    <a:cubicBezTo>
                      <a:pt x="2995" y="788"/>
                      <a:pt x="2975" y="808"/>
                      <a:pt x="2975" y="833"/>
                    </a:cubicBezTo>
                    <a:cubicBezTo>
                      <a:pt x="2975" y="857"/>
                      <a:pt x="2995" y="878"/>
                      <a:pt x="3020" y="878"/>
                    </a:cubicBezTo>
                    <a:cubicBezTo>
                      <a:pt x="3045" y="878"/>
                      <a:pt x="3065" y="857"/>
                      <a:pt x="3065" y="833"/>
                    </a:cubicBezTo>
                    <a:cubicBezTo>
                      <a:pt x="3065" y="817"/>
                      <a:pt x="3057" y="803"/>
                      <a:pt x="3044" y="795"/>
                    </a:cubicBezTo>
                    <a:cubicBezTo>
                      <a:pt x="3100" y="627"/>
                      <a:pt x="3100" y="627"/>
                      <a:pt x="3100" y="627"/>
                    </a:cubicBezTo>
                    <a:cubicBezTo>
                      <a:pt x="3115" y="631"/>
                      <a:pt x="3131" y="634"/>
                      <a:pt x="3147" y="634"/>
                    </a:cubicBezTo>
                    <a:cubicBezTo>
                      <a:pt x="3198" y="634"/>
                      <a:pt x="3243" y="611"/>
                      <a:pt x="3273" y="575"/>
                    </a:cubicBezTo>
                    <a:cubicBezTo>
                      <a:pt x="3459" y="656"/>
                      <a:pt x="3459" y="656"/>
                      <a:pt x="3459" y="656"/>
                    </a:cubicBezTo>
                    <a:cubicBezTo>
                      <a:pt x="3457" y="662"/>
                      <a:pt x="3456" y="669"/>
                      <a:pt x="3456" y="675"/>
                    </a:cubicBezTo>
                    <a:cubicBezTo>
                      <a:pt x="3456" y="722"/>
                      <a:pt x="3494" y="759"/>
                      <a:pt x="3540" y="759"/>
                    </a:cubicBezTo>
                    <a:cubicBezTo>
                      <a:pt x="3587" y="759"/>
                      <a:pt x="3624" y="722"/>
                      <a:pt x="3624" y="675"/>
                    </a:cubicBezTo>
                    <a:cubicBezTo>
                      <a:pt x="3624" y="629"/>
                      <a:pt x="3587" y="591"/>
                      <a:pt x="3540" y="591"/>
                    </a:cubicBezTo>
                    <a:cubicBezTo>
                      <a:pt x="3506" y="591"/>
                      <a:pt x="3477" y="612"/>
                      <a:pt x="3464" y="641"/>
                    </a:cubicBezTo>
                    <a:cubicBezTo>
                      <a:pt x="3283" y="562"/>
                      <a:pt x="3283" y="562"/>
                      <a:pt x="3283" y="562"/>
                    </a:cubicBezTo>
                    <a:cubicBezTo>
                      <a:pt x="3300" y="536"/>
                      <a:pt x="3311" y="504"/>
                      <a:pt x="3311" y="471"/>
                    </a:cubicBezTo>
                    <a:cubicBezTo>
                      <a:pt x="3311" y="460"/>
                      <a:pt x="3310" y="450"/>
                      <a:pt x="3308" y="440"/>
                    </a:cubicBezTo>
                    <a:cubicBezTo>
                      <a:pt x="3401" y="429"/>
                      <a:pt x="3401" y="429"/>
                      <a:pt x="3401" y="429"/>
                    </a:cubicBezTo>
                    <a:cubicBezTo>
                      <a:pt x="3408" y="445"/>
                      <a:pt x="3424" y="456"/>
                      <a:pt x="3442" y="456"/>
                    </a:cubicBezTo>
                    <a:cubicBezTo>
                      <a:pt x="3467" y="456"/>
                      <a:pt x="3487" y="435"/>
                      <a:pt x="3487" y="411"/>
                    </a:cubicBezTo>
                    <a:cubicBezTo>
                      <a:pt x="3487" y="400"/>
                      <a:pt x="3483" y="390"/>
                      <a:pt x="3477" y="382"/>
                    </a:cubicBezTo>
                    <a:cubicBezTo>
                      <a:pt x="3551" y="280"/>
                      <a:pt x="3551" y="280"/>
                      <a:pt x="3551" y="280"/>
                    </a:cubicBezTo>
                    <a:cubicBezTo>
                      <a:pt x="3571" y="291"/>
                      <a:pt x="3594" y="298"/>
                      <a:pt x="3618" y="298"/>
                    </a:cubicBezTo>
                    <a:cubicBezTo>
                      <a:pt x="3662" y="298"/>
                      <a:pt x="3702" y="277"/>
                      <a:pt x="3726" y="244"/>
                    </a:cubicBezTo>
                    <a:cubicBezTo>
                      <a:pt x="3856" y="333"/>
                      <a:pt x="3856" y="333"/>
                      <a:pt x="3856" y="333"/>
                    </a:cubicBezTo>
                    <a:cubicBezTo>
                      <a:pt x="3850" y="344"/>
                      <a:pt x="3846" y="357"/>
                      <a:pt x="3846" y="371"/>
                    </a:cubicBezTo>
                    <a:cubicBezTo>
                      <a:pt x="3846" y="418"/>
                      <a:pt x="3884" y="455"/>
                      <a:pt x="3930" y="455"/>
                    </a:cubicBezTo>
                    <a:cubicBezTo>
                      <a:pt x="3977" y="455"/>
                      <a:pt x="4014" y="418"/>
                      <a:pt x="4014" y="371"/>
                    </a:cubicBezTo>
                    <a:cubicBezTo>
                      <a:pt x="4014" y="325"/>
                      <a:pt x="3977" y="287"/>
                      <a:pt x="3930" y="287"/>
                    </a:cubicBezTo>
                    <a:close/>
                    <a:moveTo>
                      <a:pt x="2796" y="42"/>
                    </a:moveTo>
                    <a:cubicBezTo>
                      <a:pt x="2808" y="42"/>
                      <a:pt x="2818" y="52"/>
                      <a:pt x="2818" y="65"/>
                    </a:cubicBezTo>
                    <a:cubicBezTo>
                      <a:pt x="2818" y="77"/>
                      <a:pt x="2808" y="87"/>
                      <a:pt x="2796" y="87"/>
                    </a:cubicBezTo>
                    <a:cubicBezTo>
                      <a:pt x="2784" y="87"/>
                      <a:pt x="2774" y="77"/>
                      <a:pt x="2774" y="65"/>
                    </a:cubicBezTo>
                    <a:cubicBezTo>
                      <a:pt x="2774" y="52"/>
                      <a:pt x="2784" y="42"/>
                      <a:pt x="2796" y="42"/>
                    </a:cubicBezTo>
                    <a:close/>
                    <a:moveTo>
                      <a:pt x="2536" y="134"/>
                    </a:moveTo>
                    <a:cubicBezTo>
                      <a:pt x="2536" y="125"/>
                      <a:pt x="2543" y="118"/>
                      <a:pt x="2552" y="118"/>
                    </a:cubicBezTo>
                    <a:cubicBezTo>
                      <a:pt x="2561" y="118"/>
                      <a:pt x="2569" y="125"/>
                      <a:pt x="2569" y="134"/>
                    </a:cubicBezTo>
                    <a:cubicBezTo>
                      <a:pt x="2569" y="143"/>
                      <a:pt x="2561" y="150"/>
                      <a:pt x="2552" y="150"/>
                    </a:cubicBezTo>
                    <a:cubicBezTo>
                      <a:pt x="2543" y="150"/>
                      <a:pt x="2536" y="143"/>
                      <a:pt x="2536" y="134"/>
                    </a:cubicBezTo>
                    <a:close/>
                    <a:moveTo>
                      <a:pt x="1378" y="202"/>
                    </a:moveTo>
                    <a:cubicBezTo>
                      <a:pt x="1390" y="202"/>
                      <a:pt x="1400" y="212"/>
                      <a:pt x="1400" y="225"/>
                    </a:cubicBezTo>
                    <a:cubicBezTo>
                      <a:pt x="1400" y="237"/>
                      <a:pt x="1390" y="247"/>
                      <a:pt x="1378" y="247"/>
                    </a:cubicBezTo>
                    <a:cubicBezTo>
                      <a:pt x="1366" y="247"/>
                      <a:pt x="1356" y="237"/>
                      <a:pt x="1356" y="225"/>
                    </a:cubicBezTo>
                    <a:cubicBezTo>
                      <a:pt x="1356" y="212"/>
                      <a:pt x="1366" y="202"/>
                      <a:pt x="1378" y="202"/>
                    </a:cubicBezTo>
                    <a:close/>
                    <a:moveTo>
                      <a:pt x="744" y="45"/>
                    </a:moveTo>
                    <a:cubicBezTo>
                      <a:pt x="744" y="32"/>
                      <a:pt x="754" y="22"/>
                      <a:pt x="766" y="22"/>
                    </a:cubicBezTo>
                    <a:cubicBezTo>
                      <a:pt x="778" y="22"/>
                      <a:pt x="788" y="32"/>
                      <a:pt x="788" y="45"/>
                    </a:cubicBezTo>
                    <a:cubicBezTo>
                      <a:pt x="788" y="57"/>
                      <a:pt x="778" y="67"/>
                      <a:pt x="766" y="67"/>
                    </a:cubicBezTo>
                    <a:cubicBezTo>
                      <a:pt x="754" y="67"/>
                      <a:pt x="744" y="57"/>
                      <a:pt x="744" y="45"/>
                    </a:cubicBezTo>
                    <a:close/>
                    <a:moveTo>
                      <a:pt x="84" y="166"/>
                    </a:moveTo>
                    <a:cubicBezTo>
                      <a:pt x="61" y="166"/>
                      <a:pt x="42" y="147"/>
                      <a:pt x="42" y="123"/>
                    </a:cubicBezTo>
                    <a:cubicBezTo>
                      <a:pt x="42" y="100"/>
                      <a:pt x="61" y="81"/>
                      <a:pt x="84" y="81"/>
                    </a:cubicBezTo>
                    <a:cubicBezTo>
                      <a:pt x="108" y="81"/>
                      <a:pt x="127" y="100"/>
                      <a:pt x="127" y="123"/>
                    </a:cubicBezTo>
                    <a:cubicBezTo>
                      <a:pt x="127" y="147"/>
                      <a:pt x="108" y="166"/>
                      <a:pt x="84" y="166"/>
                    </a:cubicBezTo>
                    <a:close/>
                    <a:moveTo>
                      <a:pt x="214" y="593"/>
                    </a:moveTo>
                    <a:cubicBezTo>
                      <a:pt x="199" y="593"/>
                      <a:pt x="188" y="581"/>
                      <a:pt x="188" y="567"/>
                    </a:cubicBezTo>
                    <a:cubicBezTo>
                      <a:pt x="188" y="552"/>
                      <a:pt x="199" y="540"/>
                      <a:pt x="214" y="540"/>
                    </a:cubicBezTo>
                    <a:cubicBezTo>
                      <a:pt x="229" y="540"/>
                      <a:pt x="240" y="552"/>
                      <a:pt x="240" y="567"/>
                    </a:cubicBezTo>
                    <a:cubicBezTo>
                      <a:pt x="240" y="581"/>
                      <a:pt x="229" y="593"/>
                      <a:pt x="214" y="593"/>
                    </a:cubicBezTo>
                    <a:close/>
                    <a:moveTo>
                      <a:pt x="388" y="385"/>
                    </a:moveTo>
                    <a:cubicBezTo>
                      <a:pt x="330" y="385"/>
                      <a:pt x="282" y="339"/>
                      <a:pt x="282" y="282"/>
                    </a:cubicBezTo>
                    <a:cubicBezTo>
                      <a:pt x="282" y="225"/>
                      <a:pt x="330" y="179"/>
                      <a:pt x="388" y="179"/>
                    </a:cubicBezTo>
                    <a:cubicBezTo>
                      <a:pt x="447" y="179"/>
                      <a:pt x="494" y="225"/>
                      <a:pt x="494" y="282"/>
                    </a:cubicBezTo>
                    <a:cubicBezTo>
                      <a:pt x="494" y="339"/>
                      <a:pt x="447" y="385"/>
                      <a:pt x="388" y="385"/>
                    </a:cubicBezTo>
                    <a:close/>
                    <a:moveTo>
                      <a:pt x="706" y="423"/>
                    </a:moveTo>
                    <a:cubicBezTo>
                      <a:pt x="691" y="423"/>
                      <a:pt x="680" y="411"/>
                      <a:pt x="680" y="397"/>
                    </a:cubicBezTo>
                    <a:cubicBezTo>
                      <a:pt x="680" y="382"/>
                      <a:pt x="691" y="370"/>
                      <a:pt x="706" y="370"/>
                    </a:cubicBezTo>
                    <a:cubicBezTo>
                      <a:pt x="721" y="370"/>
                      <a:pt x="732" y="382"/>
                      <a:pt x="732" y="397"/>
                    </a:cubicBezTo>
                    <a:cubicBezTo>
                      <a:pt x="732" y="411"/>
                      <a:pt x="721" y="423"/>
                      <a:pt x="706" y="423"/>
                    </a:cubicBezTo>
                    <a:close/>
                    <a:moveTo>
                      <a:pt x="902" y="298"/>
                    </a:moveTo>
                    <a:cubicBezTo>
                      <a:pt x="866" y="298"/>
                      <a:pt x="837" y="269"/>
                      <a:pt x="837" y="233"/>
                    </a:cubicBezTo>
                    <a:cubicBezTo>
                      <a:pt x="837" y="197"/>
                      <a:pt x="866" y="168"/>
                      <a:pt x="902" y="168"/>
                    </a:cubicBezTo>
                    <a:cubicBezTo>
                      <a:pt x="938" y="168"/>
                      <a:pt x="967" y="197"/>
                      <a:pt x="967" y="233"/>
                    </a:cubicBezTo>
                    <a:cubicBezTo>
                      <a:pt x="967" y="269"/>
                      <a:pt x="938" y="298"/>
                      <a:pt x="902" y="298"/>
                    </a:cubicBezTo>
                    <a:close/>
                    <a:moveTo>
                      <a:pt x="1028" y="611"/>
                    </a:moveTo>
                    <a:cubicBezTo>
                      <a:pt x="1016" y="611"/>
                      <a:pt x="1006" y="601"/>
                      <a:pt x="1006" y="589"/>
                    </a:cubicBezTo>
                    <a:cubicBezTo>
                      <a:pt x="1006" y="576"/>
                      <a:pt x="1016" y="566"/>
                      <a:pt x="1028" y="566"/>
                    </a:cubicBezTo>
                    <a:cubicBezTo>
                      <a:pt x="1040" y="566"/>
                      <a:pt x="1050" y="576"/>
                      <a:pt x="1050" y="589"/>
                    </a:cubicBezTo>
                    <a:cubicBezTo>
                      <a:pt x="1050" y="601"/>
                      <a:pt x="1040" y="611"/>
                      <a:pt x="1028" y="611"/>
                    </a:cubicBezTo>
                    <a:close/>
                    <a:moveTo>
                      <a:pt x="1408" y="711"/>
                    </a:moveTo>
                    <a:cubicBezTo>
                      <a:pt x="1408" y="723"/>
                      <a:pt x="1398" y="733"/>
                      <a:pt x="1386" y="733"/>
                    </a:cubicBezTo>
                    <a:cubicBezTo>
                      <a:pt x="1374" y="733"/>
                      <a:pt x="1364" y="723"/>
                      <a:pt x="1364" y="711"/>
                    </a:cubicBezTo>
                    <a:cubicBezTo>
                      <a:pt x="1364" y="698"/>
                      <a:pt x="1374" y="688"/>
                      <a:pt x="1386" y="688"/>
                    </a:cubicBezTo>
                    <a:cubicBezTo>
                      <a:pt x="1398" y="688"/>
                      <a:pt x="1408" y="698"/>
                      <a:pt x="1408" y="711"/>
                    </a:cubicBezTo>
                    <a:close/>
                    <a:moveTo>
                      <a:pt x="1279" y="595"/>
                    </a:moveTo>
                    <a:cubicBezTo>
                      <a:pt x="1230" y="595"/>
                      <a:pt x="1190" y="555"/>
                      <a:pt x="1190" y="506"/>
                    </a:cubicBezTo>
                    <a:cubicBezTo>
                      <a:pt x="1190" y="456"/>
                      <a:pt x="1230" y="416"/>
                      <a:pt x="1279" y="416"/>
                    </a:cubicBezTo>
                    <a:cubicBezTo>
                      <a:pt x="1328" y="416"/>
                      <a:pt x="1368" y="456"/>
                      <a:pt x="1368" y="506"/>
                    </a:cubicBezTo>
                    <a:cubicBezTo>
                      <a:pt x="1368" y="555"/>
                      <a:pt x="1328" y="595"/>
                      <a:pt x="1279" y="595"/>
                    </a:cubicBezTo>
                    <a:close/>
                    <a:moveTo>
                      <a:pt x="2005" y="866"/>
                    </a:moveTo>
                    <a:cubicBezTo>
                      <a:pt x="1885" y="866"/>
                      <a:pt x="1788" y="769"/>
                      <a:pt x="1788" y="649"/>
                    </a:cubicBezTo>
                    <a:cubicBezTo>
                      <a:pt x="1788" y="529"/>
                      <a:pt x="1885" y="432"/>
                      <a:pt x="2005" y="432"/>
                    </a:cubicBezTo>
                    <a:cubicBezTo>
                      <a:pt x="2125" y="432"/>
                      <a:pt x="2222" y="529"/>
                      <a:pt x="2222" y="649"/>
                    </a:cubicBezTo>
                    <a:cubicBezTo>
                      <a:pt x="2222" y="769"/>
                      <a:pt x="2125" y="866"/>
                      <a:pt x="2005" y="866"/>
                    </a:cubicBezTo>
                    <a:close/>
                    <a:moveTo>
                      <a:pt x="2835" y="611"/>
                    </a:moveTo>
                    <a:cubicBezTo>
                      <a:pt x="2835" y="635"/>
                      <a:pt x="2816" y="654"/>
                      <a:pt x="2792" y="654"/>
                    </a:cubicBezTo>
                    <a:cubicBezTo>
                      <a:pt x="2769" y="654"/>
                      <a:pt x="2750" y="635"/>
                      <a:pt x="2750" y="611"/>
                    </a:cubicBezTo>
                    <a:cubicBezTo>
                      <a:pt x="2750" y="588"/>
                      <a:pt x="2769" y="569"/>
                      <a:pt x="2792" y="569"/>
                    </a:cubicBezTo>
                    <a:cubicBezTo>
                      <a:pt x="2816" y="569"/>
                      <a:pt x="2835" y="588"/>
                      <a:pt x="2835" y="611"/>
                    </a:cubicBezTo>
                    <a:close/>
                    <a:moveTo>
                      <a:pt x="2685" y="413"/>
                    </a:moveTo>
                    <a:cubicBezTo>
                      <a:pt x="2635" y="413"/>
                      <a:pt x="2594" y="372"/>
                      <a:pt x="2594" y="321"/>
                    </a:cubicBezTo>
                    <a:cubicBezTo>
                      <a:pt x="2594" y="271"/>
                      <a:pt x="2635" y="230"/>
                      <a:pt x="2685" y="230"/>
                    </a:cubicBezTo>
                    <a:cubicBezTo>
                      <a:pt x="2736" y="230"/>
                      <a:pt x="2777" y="271"/>
                      <a:pt x="2777" y="321"/>
                    </a:cubicBezTo>
                    <a:cubicBezTo>
                      <a:pt x="2777" y="372"/>
                      <a:pt x="2736" y="413"/>
                      <a:pt x="2685" y="413"/>
                    </a:cubicBezTo>
                    <a:close/>
                    <a:moveTo>
                      <a:pt x="3020" y="855"/>
                    </a:moveTo>
                    <a:cubicBezTo>
                      <a:pt x="3008" y="855"/>
                      <a:pt x="2998" y="845"/>
                      <a:pt x="2998" y="833"/>
                    </a:cubicBezTo>
                    <a:cubicBezTo>
                      <a:pt x="2998" y="820"/>
                      <a:pt x="3008" y="810"/>
                      <a:pt x="3020" y="810"/>
                    </a:cubicBezTo>
                    <a:cubicBezTo>
                      <a:pt x="3032" y="810"/>
                      <a:pt x="3042" y="820"/>
                      <a:pt x="3042" y="833"/>
                    </a:cubicBezTo>
                    <a:cubicBezTo>
                      <a:pt x="3042" y="845"/>
                      <a:pt x="3032" y="855"/>
                      <a:pt x="3020" y="855"/>
                    </a:cubicBezTo>
                    <a:close/>
                    <a:moveTo>
                      <a:pt x="3147" y="564"/>
                    </a:moveTo>
                    <a:cubicBezTo>
                      <a:pt x="3094" y="564"/>
                      <a:pt x="3051" y="521"/>
                      <a:pt x="3051" y="468"/>
                    </a:cubicBezTo>
                    <a:cubicBezTo>
                      <a:pt x="3051" y="415"/>
                      <a:pt x="3094" y="372"/>
                      <a:pt x="3147" y="372"/>
                    </a:cubicBezTo>
                    <a:cubicBezTo>
                      <a:pt x="3200" y="372"/>
                      <a:pt x="3243" y="415"/>
                      <a:pt x="3243" y="468"/>
                    </a:cubicBezTo>
                    <a:cubicBezTo>
                      <a:pt x="3243" y="521"/>
                      <a:pt x="3200" y="564"/>
                      <a:pt x="3147" y="564"/>
                    </a:cubicBezTo>
                    <a:close/>
                    <a:moveTo>
                      <a:pt x="3540" y="633"/>
                    </a:moveTo>
                    <a:cubicBezTo>
                      <a:pt x="3564" y="633"/>
                      <a:pt x="3583" y="652"/>
                      <a:pt x="3583" y="675"/>
                    </a:cubicBezTo>
                    <a:cubicBezTo>
                      <a:pt x="3583" y="699"/>
                      <a:pt x="3564" y="718"/>
                      <a:pt x="3540" y="718"/>
                    </a:cubicBezTo>
                    <a:cubicBezTo>
                      <a:pt x="3517" y="718"/>
                      <a:pt x="3498" y="699"/>
                      <a:pt x="3498" y="675"/>
                    </a:cubicBezTo>
                    <a:cubicBezTo>
                      <a:pt x="3498" y="652"/>
                      <a:pt x="3517" y="633"/>
                      <a:pt x="3540" y="633"/>
                    </a:cubicBezTo>
                    <a:close/>
                    <a:moveTo>
                      <a:pt x="3442" y="433"/>
                    </a:moveTo>
                    <a:cubicBezTo>
                      <a:pt x="3430" y="433"/>
                      <a:pt x="3420" y="423"/>
                      <a:pt x="3420" y="411"/>
                    </a:cubicBezTo>
                    <a:cubicBezTo>
                      <a:pt x="3420" y="398"/>
                      <a:pt x="3430" y="388"/>
                      <a:pt x="3442" y="388"/>
                    </a:cubicBezTo>
                    <a:cubicBezTo>
                      <a:pt x="3454" y="388"/>
                      <a:pt x="3464" y="398"/>
                      <a:pt x="3464" y="411"/>
                    </a:cubicBezTo>
                    <a:cubicBezTo>
                      <a:pt x="3464" y="423"/>
                      <a:pt x="3454" y="433"/>
                      <a:pt x="3442" y="433"/>
                    </a:cubicBezTo>
                    <a:close/>
                    <a:moveTo>
                      <a:pt x="3618" y="240"/>
                    </a:moveTo>
                    <a:cubicBezTo>
                      <a:pt x="3575" y="240"/>
                      <a:pt x="3539" y="205"/>
                      <a:pt x="3539" y="161"/>
                    </a:cubicBezTo>
                    <a:cubicBezTo>
                      <a:pt x="3539" y="117"/>
                      <a:pt x="3575" y="82"/>
                      <a:pt x="3618" y="82"/>
                    </a:cubicBezTo>
                    <a:cubicBezTo>
                      <a:pt x="3662" y="82"/>
                      <a:pt x="3697" y="117"/>
                      <a:pt x="3697" y="161"/>
                    </a:cubicBezTo>
                    <a:cubicBezTo>
                      <a:pt x="3697" y="205"/>
                      <a:pt x="3662" y="240"/>
                      <a:pt x="3618" y="240"/>
                    </a:cubicBezTo>
                    <a:close/>
                    <a:moveTo>
                      <a:pt x="3930" y="414"/>
                    </a:moveTo>
                    <a:cubicBezTo>
                      <a:pt x="3907" y="414"/>
                      <a:pt x="3888" y="395"/>
                      <a:pt x="3888" y="371"/>
                    </a:cubicBezTo>
                    <a:cubicBezTo>
                      <a:pt x="3888" y="348"/>
                      <a:pt x="3907" y="329"/>
                      <a:pt x="3930" y="329"/>
                    </a:cubicBezTo>
                    <a:cubicBezTo>
                      <a:pt x="3954" y="329"/>
                      <a:pt x="3973" y="348"/>
                      <a:pt x="3973" y="371"/>
                    </a:cubicBezTo>
                    <a:cubicBezTo>
                      <a:pt x="3973" y="395"/>
                      <a:pt x="3954" y="414"/>
                      <a:pt x="3930" y="414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1" name="Oval 6"/>
              <p:cNvSpPr>
                <a:spLocks noChangeArrowheads="1"/>
              </p:cNvSpPr>
              <p:nvPr userDrawn="1"/>
            </p:nvSpPr>
            <p:spPr bwMode="auto">
              <a:xfrm>
                <a:off x="5694363" y="4705350"/>
                <a:ext cx="782638" cy="781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43" name="Rechteck 42"/>
            <p:cNvSpPr/>
            <p:nvPr userDrawn="1"/>
          </p:nvSpPr>
          <p:spPr>
            <a:xfrm>
              <a:off x="-12139" y="0"/>
              <a:ext cx="12296726" cy="6858000"/>
            </a:xfrm>
            <a:prstGeom prst="rect">
              <a:avLst/>
            </a:prstGeom>
            <a:gradFill flip="none" rotWithShape="0">
              <a:gsLst>
                <a:gs pos="0">
                  <a:schemeClr val="tx1">
                    <a:alpha val="90000"/>
                  </a:schemeClr>
                </a:gs>
                <a:gs pos="50000">
                  <a:schemeClr val="tx1">
                    <a:lumMod val="85000"/>
                    <a:lumOff val="15000"/>
                    <a:alpha val="50000"/>
                  </a:schemeClr>
                </a:gs>
                <a:gs pos="100000">
                  <a:schemeClr val="tx1">
                    <a:lumMod val="65000"/>
                    <a:lumOff val="35000"/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44" name="Rechteck 43"/>
            <p:cNvSpPr/>
            <p:nvPr userDrawn="1"/>
          </p:nvSpPr>
          <p:spPr>
            <a:xfrm>
              <a:off x="-12139" y="5817351"/>
              <a:ext cx="12202551" cy="1052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0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44376" y="4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chemeClr val="accent1">
                    <a:lumMod val="40000"/>
                    <a:lumOff val="60000"/>
                  </a:schemeClr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044376" y="3741445"/>
            <a:ext cx="10101664" cy="2061759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400">
                <a:solidFill>
                  <a:schemeClr val="bg1"/>
                </a:solidFill>
              </a:defRPr>
            </a:lvl1pPr>
            <a:lvl2pPr marL="45706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141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825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237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650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SUBTITL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36DA520-33DD-4483-AC41-0295C801D9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20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/>
          <p:cNvGrpSpPr/>
          <p:nvPr userDrawn="1"/>
        </p:nvGrpSpPr>
        <p:grpSpPr>
          <a:xfrm>
            <a:off x="0" y="0"/>
            <a:ext cx="12190413" cy="6858000"/>
            <a:chOff x="0" y="0"/>
            <a:chExt cx="12190413" cy="6858000"/>
          </a:xfrm>
          <a:solidFill>
            <a:schemeClr val="accent1">
              <a:lumMod val="50000"/>
            </a:schemeClr>
          </a:solidFill>
        </p:grpSpPr>
        <p:sp>
          <p:nvSpPr>
            <p:cNvPr id="18" name="Rechteck 17"/>
            <p:cNvSpPr/>
            <p:nvPr userDrawn="1"/>
          </p:nvSpPr>
          <p:spPr bwMode="auto">
            <a:xfrm>
              <a:off x="0" y="0"/>
              <a:ext cx="12190413" cy="6858000"/>
            </a:xfrm>
            <a:prstGeom prst="rect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31" tIns="45715" rIns="91431" bIns="45715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grpSp>
          <p:nvGrpSpPr>
            <p:cNvPr id="19" name="Gruppieren 18"/>
            <p:cNvGrpSpPr/>
            <p:nvPr userDrawn="1"/>
          </p:nvGrpSpPr>
          <p:grpSpPr>
            <a:xfrm>
              <a:off x="80228" y="4852085"/>
              <a:ext cx="12110185" cy="2005914"/>
              <a:chOff x="80228" y="4852085"/>
              <a:chExt cx="12110185" cy="2005914"/>
            </a:xfrm>
            <a:grpFill/>
          </p:grpSpPr>
          <p:sp>
            <p:nvSpPr>
              <p:cNvPr id="20" name="Freeform 15"/>
              <p:cNvSpPr>
                <a:spLocks/>
              </p:cNvSpPr>
              <p:nvPr userDrawn="1"/>
            </p:nvSpPr>
            <p:spPr bwMode="auto">
              <a:xfrm>
                <a:off x="80228" y="4852085"/>
                <a:ext cx="12108033" cy="2001797"/>
              </a:xfrm>
              <a:custGeom>
                <a:avLst/>
                <a:gdLst>
                  <a:gd name="T0" fmla="*/ 453 w 453"/>
                  <a:gd name="T1" fmla="*/ 54 h 54"/>
                  <a:gd name="T2" fmla="*/ 453 w 453"/>
                  <a:gd name="T3" fmla="*/ 18 h 54"/>
                  <a:gd name="T4" fmla="*/ 278 w 453"/>
                  <a:gd name="T5" fmla="*/ 0 h 54"/>
                  <a:gd name="T6" fmla="*/ 0 w 453"/>
                  <a:gd name="T7" fmla="*/ 54 h 54"/>
                  <a:gd name="T8" fmla="*/ 453 w 453"/>
                  <a:gd name="T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3" h="54">
                    <a:moveTo>
                      <a:pt x="453" y="54"/>
                    </a:moveTo>
                    <a:cubicBezTo>
                      <a:pt x="453" y="18"/>
                      <a:pt x="453" y="18"/>
                      <a:pt x="453" y="18"/>
                    </a:cubicBezTo>
                    <a:cubicBezTo>
                      <a:pt x="402" y="7"/>
                      <a:pt x="342" y="0"/>
                      <a:pt x="278" y="0"/>
                    </a:cubicBezTo>
                    <a:cubicBezTo>
                      <a:pt x="163" y="0"/>
                      <a:pt x="62" y="21"/>
                      <a:pt x="0" y="54"/>
                    </a:cubicBezTo>
                    <a:lnTo>
                      <a:pt x="453" y="54"/>
                    </a:lnTo>
                    <a:close/>
                  </a:path>
                </a:pathLst>
              </a:custGeom>
              <a:grpFill/>
              <a:ln w="857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" name="Freeform 15"/>
              <p:cNvSpPr>
                <a:spLocks/>
              </p:cNvSpPr>
              <p:nvPr userDrawn="1"/>
            </p:nvSpPr>
            <p:spPr bwMode="auto">
              <a:xfrm>
                <a:off x="2191718" y="5482769"/>
                <a:ext cx="9998695" cy="1375230"/>
              </a:xfrm>
              <a:custGeom>
                <a:avLst/>
                <a:gdLst>
                  <a:gd name="T0" fmla="*/ 453 w 453"/>
                  <a:gd name="T1" fmla="*/ 54 h 54"/>
                  <a:gd name="T2" fmla="*/ 453 w 453"/>
                  <a:gd name="T3" fmla="*/ 18 h 54"/>
                  <a:gd name="T4" fmla="*/ 278 w 453"/>
                  <a:gd name="T5" fmla="*/ 0 h 54"/>
                  <a:gd name="T6" fmla="*/ 0 w 453"/>
                  <a:gd name="T7" fmla="*/ 54 h 54"/>
                  <a:gd name="T8" fmla="*/ 453 w 453"/>
                  <a:gd name="T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3" h="54">
                    <a:moveTo>
                      <a:pt x="453" y="54"/>
                    </a:moveTo>
                    <a:cubicBezTo>
                      <a:pt x="453" y="18"/>
                      <a:pt x="453" y="18"/>
                      <a:pt x="453" y="18"/>
                    </a:cubicBezTo>
                    <a:cubicBezTo>
                      <a:pt x="402" y="7"/>
                      <a:pt x="342" y="0"/>
                      <a:pt x="278" y="0"/>
                    </a:cubicBezTo>
                    <a:cubicBezTo>
                      <a:pt x="163" y="0"/>
                      <a:pt x="62" y="21"/>
                      <a:pt x="0" y="54"/>
                    </a:cubicBezTo>
                    <a:lnTo>
                      <a:pt x="453" y="54"/>
                    </a:lnTo>
                    <a:close/>
                  </a:path>
                </a:pathLst>
              </a:custGeom>
              <a:grpFill/>
              <a:ln w="857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36" name="Rechteck 35"/>
          <p:cNvSpPr/>
          <p:nvPr userDrawn="1"/>
        </p:nvSpPr>
        <p:spPr>
          <a:xfrm>
            <a:off x="-12137" y="0"/>
            <a:ext cx="12190413" cy="6858000"/>
          </a:xfrm>
          <a:prstGeom prst="rect">
            <a:avLst/>
          </a:prstGeom>
          <a:gradFill flip="none" rotWithShape="0">
            <a:gsLst>
              <a:gs pos="0">
                <a:schemeClr val="tx2">
                  <a:lumMod val="50000"/>
                </a:schemeClr>
              </a:gs>
              <a:gs pos="50000">
                <a:schemeClr val="tx2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6" rIns="91414" bIns="45706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grpSp>
        <p:nvGrpSpPr>
          <p:cNvPr id="32" name="Gruppieren 31"/>
          <p:cNvGrpSpPr/>
          <p:nvPr userDrawn="1"/>
        </p:nvGrpSpPr>
        <p:grpSpPr>
          <a:xfrm rot="20232963">
            <a:off x="103011" y="2823991"/>
            <a:ext cx="12749214" cy="3163887"/>
            <a:chOff x="-276225" y="3046413"/>
            <a:chExt cx="12749213" cy="316388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4" name="Oval 6"/>
            <p:cNvSpPr>
              <a:spLocks noChangeArrowheads="1"/>
            </p:cNvSpPr>
            <p:nvPr userDrawn="1"/>
          </p:nvSpPr>
          <p:spPr bwMode="auto">
            <a:xfrm>
              <a:off x="5694363" y="4705350"/>
              <a:ext cx="782638" cy="781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7"/>
            <p:cNvSpPr>
              <a:spLocks noEditPoints="1"/>
            </p:cNvSpPr>
            <p:nvPr userDrawn="1"/>
          </p:nvSpPr>
          <p:spPr bwMode="auto">
            <a:xfrm>
              <a:off x="-276225" y="3046413"/>
              <a:ext cx="12749213" cy="3163887"/>
            </a:xfrm>
            <a:custGeom>
              <a:avLst/>
              <a:gdLst>
                <a:gd name="T0" fmla="*/ 3618 w 4014"/>
                <a:gd name="T1" fmla="*/ 28 h 996"/>
                <a:gd name="T2" fmla="*/ 3397 w 4014"/>
                <a:gd name="T3" fmla="*/ 411 h 996"/>
                <a:gd name="T4" fmla="*/ 2836 w 4014"/>
                <a:gd name="T5" fmla="*/ 365 h 996"/>
                <a:gd name="T6" fmla="*/ 2841 w 4014"/>
                <a:gd name="T7" fmla="*/ 65 h 996"/>
                <a:gd name="T8" fmla="*/ 2685 w 4014"/>
                <a:gd name="T9" fmla="*/ 168 h 996"/>
                <a:gd name="T10" fmla="*/ 2523 w 4014"/>
                <a:gd name="T11" fmla="*/ 134 h 996"/>
                <a:gd name="T12" fmla="*/ 2553 w 4014"/>
                <a:gd name="T13" fmla="*/ 407 h 996"/>
                <a:gd name="T14" fmla="*/ 1431 w 4014"/>
                <a:gd name="T15" fmla="*/ 508 h 996"/>
                <a:gd name="T16" fmla="*/ 1378 w 4014"/>
                <a:gd name="T17" fmla="*/ 180 h 996"/>
                <a:gd name="T18" fmla="*/ 1149 w 4014"/>
                <a:gd name="T19" fmla="*/ 430 h 996"/>
                <a:gd name="T20" fmla="*/ 794 w 4014"/>
                <a:gd name="T21" fmla="*/ 80 h 996"/>
                <a:gd name="T22" fmla="*/ 780 w 4014"/>
                <a:gd name="T23" fmla="*/ 87 h 996"/>
                <a:gd name="T24" fmla="*/ 706 w 4014"/>
                <a:gd name="T25" fmla="*/ 344 h 996"/>
                <a:gd name="T26" fmla="*/ 231 w 4014"/>
                <a:gd name="T27" fmla="*/ 199 h 996"/>
                <a:gd name="T28" fmla="*/ 84 w 4014"/>
                <a:gd name="T29" fmla="*/ 207 h 996"/>
                <a:gd name="T30" fmla="*/ 230 w 4014"/>
                <a:gd name="T31" fmla="*/ 516 h 996"/>
                <a:gd name="T32" fmla="*/ 244 w 4014"/>
                <a:gd name="T33" fmla="*/ 523 h 996"/>
                <a:gd name="T34" fmla="*/ 653 w 4014"/>
                <a:gd name="T35" fmla="*/ 397 h 996"/>
                <a:gd name="T36" fmla="*/ 902 w 4014"/>
                <a:gd name="T37" fmla="*/ 346 h 996"/>
                <a:gd name="T38" fmla="*/ 1068 w 4014"/>
                <a:gd name="T39" fmla="*/ 567 h 996"/>
                <a:gd name="T40" fmla="*/ 1073 w 4014"/>
                <a:gd name="T41" fmla="*/ 583 h 996"/>
                <a:gd name="T42" fmla="*/ 1341 w 4014"/>
                <a:gd name="T43" fmla="*/ 711 h 996"/>
                <a:gd name="T44" fmla="*/ 1353 w 4014"/>
                <a:gd name="T45" fmla="*/ 641 h 996"/>
                <a:gd name="T46" fmla="*/ 2350 w 4014"/>
                <a:gd name="T47" fmla="*/ 651 h 996"/>
                <a:gd name="T48" fmla="*/ 2757 w 4014"/>
                <a:gd name="T49" fmla="*/ 535 h 996"/>
                <a:gd name="T50" fmla="*/ 2773 w 4014"/>
                <a:gd name="T51" fmla="*/ 530 h 996"/>
                <a:gd name="T52" fmla="*/ 3085 w 4014"/>
                <a:gd name="T53" fmla="*/ 622 h 996"/>
                <a:gd name="T54" fmla="*/ 3065 w 4014"/>
                <a:gd name="T55" fmla="*/ 833 h 996"/>
                <a:gd name="T56" fmla="*/ 3459 w 4014"/>
                <a:gd name="T57" fmla="*/ 656 h 996"/>
                <a:gd name="T58" fmla="*/ 3464 w 4014"/>
                <a:gd name="T59" fmla="*/ 641 h 996"/>
                <a:gd name="T60" fmla="*/ 3442 w 4014"/>
                <a:gd name="T61" fmla="*/ 456 h 996"/>
                <a:gd name="T62" fmla="*/ 3726 w 4014"/>
                <a:gd name="T63" fmla="*/ 244 h 996"/>
                <a:gd name="T64" fmla="*/ 3930 w 4014"/>
                <a:gd name="T65" fmla="*/ 287 h 996"/>
                <a:gd name="T66" fmla="*/ 2796 w 4014"/>
                <a:gd name="T67" fmla="*/ 42 h 996"/>
                <a:gd name="T68" fmla="*/ 2536 w 4014"/>
                <a:gd name="T69" fmla="*/ 134 h 996"/>
                <a:gd name="T70" fmla="*/ 1378 w 4014"/>
                <a:gd name="T71" fmla="*/ 202 h 996"/>
                <a:gd name="T72" fmla="*/ 744 w 4014"/>
                <a:gd name="T73" fmla="*/ 45 h 996"/>
                <a:gd name="T74" fmla="*/ 84 w 4014"/>
                <a:gd name="T75" fmla="*/ 166 h 996"/>
                <a:gd name="T76" fmla="*/ 214 w 4014"/>
                <a:gd name="T77" fmla="*/ 593 h 996"/>
                <a:gd name="T78" fmla="*/ 388 w 4014"/>
                <a:gd name="T79" fmla="*/ 385 h 996"/>
                <a:gd name="T80" fmla="*/ 706 w 4014"/>
                <a:gd name="T81" fmla="*/ 423 h 996"/>
                <a:gd name="T82" fmla="*/ 902 w 4014"/>
                <a:gd name="T83" fmla="*/ 298 h 996"/>
                <a:gd name="T84" fmla="*/ 1028 w 4014"/>
                <a:gd name="T85" fmla="*/ 611 h 996"/>
                <a:gd name="T86" fmla="*/ 1408 w 4014"/>
                <a:gd name="T87" fmla="*/ 711 h 996"/>
                <a:gd name="T88" fmla="*/ 1279 w 4014"/>
                <a:gd name="T89" fmla="*/ 595 h 996"/>
                <a:gd name="T90" fmla="*/ 2005 w 4014"/>
                <a:gd name="T91" fmla="*/ 866 h 996"/>
                <a:gd name="T92" fmla="*/ 2835 w 4014"/>
                <a:gd name="T93" fmla="*/ 611 h 996"/>
                <a:gd name="T94" fmla="*/ 2685 w 4014"/>
                <a:gd name="T95" fmla="*/ 413 h 996"/>
                <a:gd name="T96" fmla="*/ 3020 w 4014"/>
                <a:gd name="T97" fmla="*/ 855 h 996"/>
                <a:gd name="T98" fmla="*/ 3147 w 4014"/>
                <a:gd name="T99" fmla="*/ 564 h 996"/>
                <a:gd name="T100" fmla="*/ 3540 w 4014"/>
                <a:gd name="T101" fmla="*/ 633 h 996"/>
                <a:gd name="T102" fmla="*/ 3442 w 4014"/>
                <a:gd name="T103" fmla="*/ 433 h 996"/>
                <a:gd name="T104" fmla="*/ 3618 w 4014"/>
                <a:gd name="T105" fmla="*/ 240 h 996"/>
                <a:gd name="T106" fmla="*/ 3930 w 4014"/>
                <a:gd name="T107" fmla="*/ 414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14" h="996">
                  <a:moveTo>
                    <a:pt x="3930" y="287"/>
                  </a:moveTo>
                  <a:cubicBezTo>
                    <a:pt x="3903" y="287"/>
                    <a:pt x="3880" y="300"/>
                    <a:pt x="3864" y="320"/>
                  </a:cubicBezTo>
                  <a:cubicBezTo>
                    <a:pt x="3735" y="231"/>
                    <a:pt x="3735" y="231"/>
                    <a:pt x="3735" y="231"/>
                  </a:cubicBezTo>
                  <a:cubicBezTo>
                    <a:pt x="3747" y="211"/>
                    <a:pt x="3753" y="188"/>
                    <a:pt x="3753" y="163"/>
                  </a:cubicBezTo>
                  <a:cubicBezTo>
                    <a:pt x="3753" y="88"/>
                    <a:pt x="3693" y="28"/>
                    <a:pt x="3618" y="28"/>
                  </a:cubicBezTo>
                  <a:cubicBezTo>
                    <a:pt x="3544" y="28"/>
                    <a:pt x="3483" y="88"/>
                    <a:pt x="3483" y="163"/>
                  </a:cubicBezTo>
                  <a:cubicBezTo>
                    <a:pt x="3483" y="207"/>
                    <a:pt x="3505" y="247"/>
                    <a:pt x="3538" y="272"/>
                  </a:cubicBezTo>
                  <a:cubicBezTo>
                    <a:pt x="3464" y="372"/>
                    <a:pt x="3464" y="372"/>
                    <a:pt x="3464" y="372"/>
                  </a:cubicBezTo>
                  <a:cubicBezTo>
                    <a:pt x="3458" y="368"/>
                    <a:pt x="3450" y="366"/>
                    <a:pt x="3442" y="366"/>
                  </a:cubicBezTo>
                  <a:cubicBezTo>
                    <a:pt x="3417" y="366"/>
                    <a:pt x="3397" y="386"/>
                    <a:pt x="3397" y="411"/>
                  </a:cubicBezTo>
                  <a:cubicBezTo>
                    <a:pt x="3397" y="412"/>
                    <a:pt x="3397" y="412"/>
                    <a:pt x="3397" y="413"/>
                  </a:cubicBezTo>
                  <a:cubicBezTo>
                    <a:pt x="3304" y="424"/>
                    <a:pt x="3304" y="424"/>
                    <a:pt x="3304" y="424"/>
                  </a:cubicBezTo>
                  <a:cubicBezTo>
                    <a:pt x="3284" y="357"/>
                    <a:pt x="3221" y="307"/>
                    <a:pt x="3147" y="307"/>
                  </a:cubicBezTo>
                  <a:cubicBezTo>
                    <a:pt x="3077" y="307"/>
                    <a:pt x="3017" y="351"/>
                    <a:pt x="2994" y="414"/>
                  </a:cubicBezTo>
                  <a:cubicBezTo>
                    <a:pt x="2836" y="365"/>
                    <a:pt x="2836" y="365"/>
                    <a:pt x="2836" y="365"/>
                  </a:cubicBezTo>
                  <a:cubicBezTo>
                    <a:pt x="2839" y="352"/>
                    <a:pt x="2841" y="338"/>
                    <a:pt x="2841" y="324"/>
                  </a:cubicBezTo>
                  <a:cubicBezTo>
                    <a:pt x="2841" y="263"/>
                    <a:pt x="2807" y="211"/>
                    <a:pt x="2757" y="185"/>
                  </a:cubicBezTo>
                  <a:cubicBezTo>
                    <a:pt x="2787" y="109"/>
                    <a:pt x="2787" y="109"/>
                    <a:pt x="2787" y="109"/>
                  </a:cubicBezTo>
                  <a:cubicBezTo>
                    <a:pt x="2790" y="109"/>
                    <a:pt x="2793" y="110"/>
                    <a:pt x="2796" y="110"/>
                  </a:cubicBezTo>
                  <a:cubicBezTo>
                    <a:pt x="2821" y="110"/>
                    <a:pt x="2841" y="89"/>
                    <a:pt x="2841" y="65"/>
                  </a:cubicBezTo>
                  <a:cubicBezTo>
                    <a:pt x="2841" y="40"/>
                    <a:pt x="2821" y="20"/>
                    <a:pt x="2796" y="20"/>
                  </a:cubicBezTo>
                  <a:cubicBezTo>
                    <a:pt x="2771" y="20"/>
                    <a:pt x="2751" y="40"/>
                    <a:pt x="2751" y="65"/>
                  </a:cubicBezTo>
                  <a:cubicBezTo>
                    <a:pt x="2751" y="81"/>
                    <a:pt x="2760" y="95"/>
                    <a:pt x="2772" y="103"/>
                  </a:cubicBezTo>
                  <a:cubicBezTo>
                    <a:pt x="2742" y="179"/>
                    <a:pt x="2742" y="179"/>
                    <a:pt x="2742" y="179"/>
                  </a:cubicBezTo>
                  <a:cubicBezTo>
                    <a:pt x="2724" y="172"/>
                    <a:pt x="2705" y="168"/>
                    <a:pt x="2685" y="168"/>
                  </a:cubicBezTo>
                  <a:cubicBezTo>
                    <a:pt x="2658" y="168"/>
                    <a:pt x="2632" y="175"/>
                    <a:pt x="2609" y="188"/>
                  </a:cubicBezTo>
                  <a:cubicBezTo>
                    <a:pt x="2575" y="151"/>
                    <a:pt x="2575" y="151"/>
                    <a:pt x="2575" y="151"/>
                  </a:cubicBezTo>
                  <a:cubicBezTo>
                    <a:pt x="2579" y="146"/>
                    <a:pt x="2581" y="140"/>
                    <a:pt x="2581" y="134"/>
                  </a:cubicBezTo>
                  <a:cubicBezTo>
                    <a:pt x="2581" y="118"/>
                    <a:pt x="2568" y="105"/>
                    <a:pt x="2552" y="105"/>
                  </a:cubicBezTo>
                  <a:cubicBezTo>
                    <a:pt x="2536" y="105"/>
                    <a:pt x="2523" y="118"/>
                    <a:pt x="2523" y="134"/>
                  </a:cubicBezTo>
                  <a:cubicBezTo>
                    <a:pt x="2523" y="150"/>
                    <a:pt x="2536" y="163"/>
                    <a:pt x="2552" y="163"/>
                  </a:cubicBezTo>
                  <a:cubicBezTo>
                    <a:pt x="2556" y="163"/>
                    <a:pt x="2559" y="162"/>
                    <a:pt x="2563" y="161"/>
                  </a:cubicBezTo>
                  <a:cubicBezTo>
                    <a:pt x="2595" y="196"/>
                    <a:pt x="2595" y="196"/>
                    <a:pt x="2595" y="196"/>
                  </a:cubicBezTo>
                  <a:cubicBezTo>
                    <a:pt x="2555" y="225"/>
                    <a:pt x="2529" y="271"/>
                    <a:pt x="2529" y="324"/>
                  </a:cubicBezTo>
                  <a:cubicBezTo>
                    <a:pt x="2529" y="354"/>
                    <a:pt x="2538" y="383"/>
                    <a:pt x="2553" y="407"/>
                  </a:cubicBezTo>
                  <a:cubicBezTo>
                    <a:pt x="2334" y="546"/>
                    <a:pt x="2334" y="546"/>
                    <a:pt x="2334" y="546"/>
                  </a:cubicBezTo>
                  <a:cubicBezTo>
                    <a:pt x="2290" y="407"/>
                    <a:pt x="2159" y="306"/>
                    <a:pt x="2005" y="306"/>
                  </a:cubicBezTo>
                  <a:cubicBezTo>
                    <a:pt x="1840" y="306"/>
                    <a:pt x="1702" y="422"/>
                    <a:pt x="1668" y="577"/>
                  </a:cubicBezTo>
                  <a:cubicBezTo>
                    <a:pt x="1429" y="537"/>
                    <a:pt x="1429" y="537"/>
                    <a:pt x="1429" y="537"/>
                  </a:cubicBezTo>
                  <a:cubicBezTo>
                    <a:pt x="1430" y="527"/>
                    <a:pt x="1431" y="518"/>
                    <a:pt x="1431" y="508"/>
                  </a:cubicBezTo>
                  <a:cubicBezTo>
                    <a:pt x="1431" y="442"/>
                    <a:pt x="1390" y="386"/>
                    <a:pt x="1331" y="365"/>
                  </a:cubicBezTo>
                  <a:cubicBezTo>
                    <a:pt x="1374" y="269"/>
                    <a:pt x="1374" y="269"/>
                    <a:pt x="1374" y="269"/>
                  </a:cubicBezTo>
                  <a:cubicBezTo>
                    <a:pt x="1375" y="270"/>
                    <a:pt x="1377" y="270"/>
                    <a:pt x="1378" y="270"/>
                  </a:cubicBezTo>
                  <a:cubicBezTo>
                    <a:pt x="1403" y="270"/>
                    <a:pt x="1423" y="249"/>
                    <a:pt x="1423" y="225"/>
                  </a:cubicBezTo>
                  <a:cubicBezTo>
                    <a:pt x="1423" y="200"/>
                    <a:pt x="1403" y="180"/>
                    <a:pt x="1378" y="180"/>
                  </a:cubicBezTo>
                  <a:cubicBezTo>
                    <a:pt x="1353" y="180"/>
                    <a:pt x="1333" y="200"/>
                    <a:pt x="1333" y="225"/>
                  </a:cubicBezTo>
                  <a:cubicBezTo>
                    <a:pt x="1333" y="242"/>
                    <a:pt x="1343" y="258"/>
                    <a:pt x="1358" y="265"/>
                  </a:cubicBezTo>
                  <a:cubicBezTo>
                    <a:pt x="1316" y="360"/>
                    <a:pt x="1316" y="360"/>
                    <a:pt x="1316" y="360"/>
                  </a:cubicBezTo>
                  <a:cubicBezTo>
                    <a:pt x="1304" y="358"/>
                    <a:pt x="1292" y="356"/>
                    <a:pt x="1279" y="356"/>
                  </a:cubicBezTo>
                  <a:cubicBezTo>
                    <a:pt x="1224" y="356"/>
                    <a:pt x="1176" y="385"/>
                    <a:pt x="1149" y="430"/>
                  </a:cubicBezTo>
                  <a:cubicBezTo>
                    <a:pt x="994" y="297"/>
                    <a:pt x="994" y="297"/>
                    <a:pt x="994" y="297"/>
                  </a:cubicBezTo>
                  <a:cubicBezTo>
                    <a:pt x="1006" y="280"/>
                    <a:pt x="1013" y="258"/>
                    <a:pt x="1013" y="235"/>
                  </a:cubicBezTo>
                  <a:cubicBezTo>
                    <a:pt x="1013" y="174"/>
                    <a:pt x="964" y="124"/>
                    <a:pt x="902" y="124"/>
                  </a:cubicBezTo>
                  <a:cubicBezTo>
                    <a:pt x="879" y="124"/>
                    <a:pt x="858" y="131"/>
                    <a:pt x="840" y="143"/>
                  </a:cubicBezTo>
                  <a:cubicBezTo>
                    <a:pt x="794" y="80"/>
                    <a:pt x="794" y="80"/>
                    <a:pt x="794" y="80"/>
                  </a:cubicBezTo>
                  <a:cubicBezTo>
                    <a:pt x="804" y="72"/>
                    <a:pt x="811" y="59"/>
                    <a:pt x="811" y="45"/>
                  </a:cubicBezTo>
                  <a:cubicBezTo>
                    <a:pt x="811" y="20"/>
                    <a:pt x="791" y="0"/>
                    <a:pt x="766" y="0"/>
                  </a:cubicBezTo>
                  <a:cubicBezTo>
                    <a:pt x="741" y="0"/>
                    <a:pt x="721" y="20"/>
                    <a:pt x="721" y="45"/>
                  </a:cubicBezTo>
                  <a:cubicBezTo>
                    <a:pt x="721" y="69"/>
                    <a:pt x="741" y="90"/>
                    <a:pt x="766" y="90"/>
                  </a:cubicBezTo>
                  <a:cubicBezTo>
                    <a:pt x="771" y="90"/>
                    <a:pt x="775" y="89"/>
                    <a:pt x="780" y="87"/>
                  </a:cubicBezTo>
                  <a:cubicBezTo>
                    <a:pt x="827" y="153"/>
                    <a:pt x="827" y="153"/>
                    <a:pt x="827" y="153"/>
                  </a:cubicBezTo>
                  <a:cubicBezTo>
                    <a:pt x="805" y="173"/>
                    <a:pt x="791" y="203"/>
                    <a:pt x="791" y="235"/>
                  </a:cubicBezTo>
                  <a:cubicBezTo>
                    <a:pt x="791" y="256"/>
                    <a:pt x="797" y="276"/>
                    <a:pt x="808" y="293"/>
                  </a:cubicBezTo>
                  <a:cubicBezTo>
                    <a:pt x="741" y="357"/>
                    <a:pt x="741" y="357"/>
                    <a:pt x="741" y="357"/>
                  </a:cubicBezTo>
                  <a:cubicBezTo>
                    <a:pt x="732" y="349"/>
                    <a:pt x="719" y="344"/>
                    <a:pt x="706" y="344"/>
                  </a:cubicBezTo>
                  <a:cubicBezTo>
                    <a:pt x="686" y="344"/>
                    <a:pt x="669" y="355"/>
                    <a:pt x="660" y="371"/>
                  </a:cubicBezTo>
                  <a:cubicBezTo>
                    <a:pt x="564" y="325"/>
                    <a:pt x="564" y="325"/>
                    <a:pt x="564" y="325"/>
                  </a:cubicBezTo>
                  <a:cubicBezTo>
                    <a:pt x="567" y="312"/>
                    <a:pt x="569" y="298"/>
                    <a:pt x="569" y="285"/>
                  </a:cubicBezTo>
                  <a:cubicBezTo>
                    <a:pt x="569" y="188"/>
                    <a:pt x="488" y="109"/>
                    <a:pt x="388" y="109"/>
                  </a:cubicBezTo>
                  <a:cubicBezTo>
                    <a:pt x="320" y="109"/>
                    <a:pt x="261" y="146"/>
                    <a:pt x="231" y="199"/>
                  </a:cubicBezTo>
                  <a:cubicBezTo>
                    <a:pt x="162" y="155"/>
                    <a:pt x="162" y="155"/>
                    <a:pt x="162" y="155"/>
                  </a:cubicBezTo>
                  <a:cubicBezTo>
                    <a:pt x="166" y="145"/>
                    <a:pt x="168" y="135"/>
                    <a:pt x="168" y="123"/>
                  </a:cubicBezTo>
                  <a:cubicBezTo>
                    <a:pt x="168" y="77"/>
                    <a:pt x="131" y="39"/>
                    <a:pt x="84" y="39"/>
                  </a:cubicBezTo>
                  <a:cubicBezTo>
                    <a:pt x="38" y="39"/>
                    <a:pt x="0" y="77"/>
                    <a:pt x="0" y="123"/>
                  </a:cubicBezTo>
                  <a:cubicBezTo>
                    <a:pt x="0" y="170"/>
                    <a:pt x="38" y="207"/>
                    <a:pt x="84" y="207"/>
                  </a:cubicBezTo>
                  <a:cubicBezTo>
                    <a:pt x="114" y="207"/>
                    <a:pt x="139" y="192"/>
                    <a:pt x="154" y="170"/>
                  </a:cubicBezTo>
                  <a:cubicBezTo>
                    <a:pt x="223" y="214"/>
                    <a:pt x="223" y="214"/>
                    <a:pt x="223" y="214"/>
                  </a:cubicBezTo>
                  <a:cubicBezTo>
                    <a:pt x="213" y="235"/>
                    <a:pt x="208" y="259"/>
                    <a:pt x="208" y="285"/>
                  </a:cubicBezTo>
                  <a:cubicBezTo>
                    <a:pt x="208" y="344"/>
                    <a:pt x="239" y="397"/>
                    <a:pt x="286" y="429"/>
                  </a:cubicBezTo>
                  <a:cubicBezTo>
                    <a:pt x="230" y="516"/>
                    <a:pt x="230" y="516"/>
                    <a:pt x="230" y="516"/>
                  </a:cubicBezTo>
                  <a:cubicBezTo>
                    <a:pt x="225" y="514"/>
                    <a:pt x="220" y="514"/>
                    <a:pt x="214" y="514"/>
                  </a:cubicBezTo>
                  <a:cubicBezTo>
                    <a:pt x="185" y="514"/>
                    <a:pt x="161" y="537"/>
                    <a:pt x="161" y="567"/>
                  </a:cubicBezTo>
                  <a:cubicBezTo>
                    <a:pt x="161" y="596"/>
                    <a:pt x="185" y="620"/>
                    <a:pt x="214" y="620"/>
                  </a:cubicBezTo>
                  <a:cubicBezTo>
                    <a:pt x="243" y="620"/>
                    <a:pt x="267" y="596"/>
                    <a:pt x="267" y="567"/>
                  </a:cubicBezTo>
                  <a:cubicBezTo>
                    <a:pt x="267" y="549"/>
                    <a:pt x="258" y="533"/>
                    <a:pt x="244" y="523"/>
                  </a:cubicBezTo>
                  <a:cubicBezTo>
                    <a:pt x="300" y="437"/>
                    <a:pt x="300" y="437"/>
                    <a:pt x="300" y="437"/>
                  </a:cubicBezTo>
                  <a:cubicBezTo>
                    <a:pt x="326" y="452"/>
                    <a:pt x="356" y="460"/>
                    <a:pt x="388" y="460"/>
                  </a:cubicBezTo>
                  <a:cubicBezTo>
                    <a:pt x="468" y="460"/>
                    <a:pt x="535" y="410"/>
                    <a:pt x="559" y="340"/>
                  </a:cubicBezTo>
                  <a:cubicBezTo>
                    <a:pt x="654" y="386"/>
                    <a:pt x="654" y="386"/>
                    <a:pt x="654" y="386"/>
                  </a:cubicBezTo>
                  <a:cubicBezTo>
                    <a:pt x="653" y="389"/>
                    <a:pt x="653" y="393"/>
                    <a:pt x="653" y="397"/>
                  </a:cubicBezTo>
                  <a:cubicBezTo>
                    <a:pt x="653" y="426"/>
                    <a:pt x="677" y="450"/>
                    <a:pt x="706" y="450"/>
                  </a:cubicBezTo>
                  <a:cubicBezTo>
                    <a:pt x="735" y="450"/>
                    <a:pt x="759" y="426"/>
                    <a:pt x="759" y="397"/>
                  </a:cubicBezTo>
                  <a:cubicBezTo>
                    <a:pt x="759" y="387"/>
                    <a:pt x="756" y="377"/>
                    <a:pt x="751" y="369"/>
                  </a:cubicBezTo>
                  <a:cubicBezTo>
                    <a:pt x="817" y="306"/>
                    <a:pt x="817" y="306"/>
                    <a:pt x="817" y="306"/>
                  </a:cubicBezTo>
                  <a:cubicBezTo>
                    <a:pt x="838" y="331"/>
                    <a:pt x="868" y="346"/>
                    <a:pt x="902" y="346"/>
                  </a:cubicBezTo>
                  <a:cubicBezTo>
                    <a:pt x="935" y="346"/>
                    <a:pt x="964" y="332"/>
                    <a:pt x="984" y="310"/>
                  </a:cubicBezTo>
                  <a:cubicBezTo>
                    <a:pt x="1141" y="444"/>
                    <a:pt x="1141" y="444"/>
                    <a:pt x="1141" y="444"/>
                  </a:cubicBezTo>
                  <a:cubicBezTo>
                    <a:pt x="1132" y="463"/>
                    <a:pt x="1127" y="485"/>
                    <a:pt x="1127" y="508"/>
                  </a:cubicBezTo>
                  <a:cubicBezTo>
                    <a:pt x="1127" y="520"/>
                    <a:pt x="1129" y="532"/>
                    <a:pt x="1132" y="544"/>
                  </a:cubicBezTo>
                  <a:cubicBezTo>
                    <a:pt x="1068" y="567"/>
                    <a:pt x="1068" y="567"/>
                    <a:pt x="1068" y="567"/>
                  </a:cubicBezTo>
                  <a:cubicBezTo>
                    <a:pt x="1060" y="553"/>
                    <a:pt x="1045" y="544"/>
                    <a:pt x="1028" y="544"/>
                  </a:cubicBezTo>
                  <a:cubicBezTo>
                    <a:pt x="1003" y="544"/>
                    <a:pt x="983" y="564"/>
                    <a:pt x="983" y="589"/>
                  </a:cubicBezTo>
                  <a:cubicBezTo>
                    <a:pt x="983" y="613"/>
                    <a:pt x="1003" y="634"/>
                    <a:pt x="1028" y="634"/>
                  </a:cubicBezTo>
                  <a:cubicBezTo>
                    <a:pt x="1053" y="634"/>
                    <a:pt x="1073" y="613"/>
                    <a:pt x="1073" y="589"/>
                  </a:cubicBezTo>
                  <a:cubicBezTo>
                    <a:pt x="1073" y="587"/>
                    <a:pt x="1073" y="585"/>
                    <a:pt x="1073" y="583"/>
                  </a:cubicBezTo>
                  <a:cubicBezTo>
                    <a:pt x="1136" y="559"/>
                    <a:pt x="1136" y="559"/>
                    <a:pt x="1136" y="559"/>
                  </a:cubicBezTo>
                  <a:cubicBezTo>
                    <a:pt x="1157" y="618"/>
                    <a:pt x="1213" y="660"/>
                    <a:pt x="1279" y="660"/>
                  </a:cubicBezTo>
                  <a:cubicBezTo>
                    <a:pt x="1300" y="660"/>
                    <a:pt x="1320" y="656"/>
                    <a:pt x="1339" y="648"/>
                  </a:cubicBezTo>
                  <a:cubicBezTo>
                    <a:pt x="1356" y="677"/>
                    <a:pt x="1356" y="677"/>
                    <a:pt x="1356" y="677"/>
                  </a:cubicBezTo>
                  <a:cubicBezTo>
                    <a:pt x="1347" y="685"/>
                    <a:pt x="1341" y="697"/>
                    <a:pt x="1341" y="711"/>
                  </a:cubicBezTo>
                  <a:cubicBezTo>
                    <a:pt x="1341" y="735"/>
                    <a:pt x="1361" y="756"/>
                    <a:pt x="1386" y="756"/>
                  </a:cubicBezTo>
                  <a:cubicBezTo>
                    <a:pt x="1411" y="756"/>
                    <a:pt x="1431" y="735"/>
                    <a:pt x="1431" y="711"/>
                  </a:cubicBezTo>
                  <a:cubicBezTo>
                    <a:pt x="1431" y="686"/>
                    <a:pt x="1411" y="666"/>
                    <a:pt x="1386" y="666"/>
                  </a:cubicBezTo>
                  <a:cubicBezTo>
                    <a:pt x="1380" y="666"/>
                    <a:pt x="1375" y="667"/>
                    <a:pt x="1370" y="669"/>
                  </a:cubicBezTo>
                  <a:cubicBezTo>
                    <a:pt x="1353" y="641"/>
                    <a:pt x="1353" y="641"/>
                    <a:pt x="1353" y="641"/>
                  </a:cubicBezTo>
                  <a:cubicBezTo>
                    <a:pt x="1387" y="622"/>
                    <a:pt x="1413" y="590"/>
                    <a:pt x="1425" y="552"/>
                  </a:cubicBezTo>
                  <a:cubicBezTo>
                    <a:pt x="1665" y="592"/>
                    <a:pt x="1665" y="592"/>
                    <a:pt x="1665" y="592"/>
                  </a:cubicBezTo>
                  <a:cubicBezTo>
                    <a:pt x="1662" y="611"/>
                    <a:pt x="1660" y="631"/>
                    <a:pt x="1660" y="651"/>
                  </a:cubicBezTo>
                  <a:cubicBezTo>
                    <a:pt x="1660" y="841"/>
                    <a:pt x="1814" y="996"/>
                    <a:pt x="2005" y="996"/>
                  </a:cubicBezTo>
                  <a:cubicBezTo>
                    <a:pt x="2196" y="996"/>
                    <a:pt x="2350" y="841"/>
                    <a:pt x="2350" y="651"/>
                  </a:cubicBezTo>
                  <a:cubicBezTo>
                    <a:pt x="2350" y="620"/>
                    <a:pt x="2346" y="591"/>
                    <a:pt x="2338" y="562"/>
                  </a:cubicBezTo>
                  <a:cubicBezTo>
                    <a:pt x="2562" y="420"/>
                    <a:pt x="2562" y="420"/>
                    <a:pt x="2562" y="420"/>
                  </a:cubicBezTo>
                  <a:cubicBezTo>
                    <a:pt x="2591" y="456"/>
                    <a:pt x="2635" y="480"/>
                    <a:pt x="2685" y="480"/>
                  </a:cubicBezTo>
                  <a:cubicBezTo>
                    <a:pt x="2700" y="480"/>
                    <a:pt x="2715" y="478"/>
                    <a:pt x="2728" y="474"/>
                  </a:cubicBezTo>
                  <a:cubicBezTo>
                    <a:pt x="2757" y="535"/>
                    <a:pt x="2757" y="535"/>
                    <a:pt x="2757" y="535"/>
                  </a:cubicBezTo>
                  <a:cubicBezTo>
                    <a:pt x="2728" y="548"/>
                    <a:pt x="2708" y="577"/>
                    <a:pt x="2708" y="611"/>
                  </a:cubicBezTo>
                  <a:cubicBezTo>
                    <a:pt x="2708" y="658"/>
                    <a:pt x="2746" y="695"/>
                    <a:pt x="2792" y="695"/>
                  </a:cubicBezTo>
                  <a:cubicBezTo>
                    <a:pt x="2839" y="695"/>
                    <a:pt x="2876" y="658"/>
                    <a:pt x="2876" y="611"/>
                  </a:cubicBezTo>
                  <a:cubicBezTo>
                    <a:pt x="2876" y="565"/>
                    <a:pt x="2839" y="527"/>
                    <a:pt x="2792" y="527"/>
                  </a:cubicBezTo>
                  <a:cubicBezTo>
                    <a:pt x="2786" y="527"/>
                    <a:pt x="2779" y="528"/>
                    <a:pt x="2773" y="530"/>
                  </a:cubicBezTo>
                  <a:cubicBezTo>
                    <a:pt x="2743" y="469"/>
                    <a:pt x="2743" y="469"/>
                    <a:pt x="2743" y="469"/>
                  </a:cubicBezTo>
                  <a:cubicBezTo>
                    <a:pt x="2783" y="453"/>
                    <a:pt x="2815" y="420"/>
                    <a:pt x="2831" y="380"/>
                  </a:cubicBezTo>
                  <a:cubicBezTo>
                    <a:pt x="2989" y="429"/>
                    <a:pt x="2989" y="429"/>
                    <a:pt x="2989" y="429"/>
                  </a:cubicBezTo>
                  <a:cubicBezTo>
                    <a:pt x="2986" y="442"/>
                    <a:pt x="2984" y="456"/>
                    <a:pt x="2984" y="471"/>
                  </a:cubicBezTo>
                  <a:cubicBezTo>
                    <a:pt x="2984" y="539"/>
                    <a:pt x="3026" y="597"/>
                    <a:pt x="3085" y="622"/>
                  </a:cubicBezTo>
                  <a:cubicBezTo>
                    <a:pt x="3029" y="789"/>
                    <a:pt x="3029" y="789"/>
                    <a:pt x="3029" y="789"/>
                  </a:cubicBezTo>
                  <a:cubicBezTo>
                    <a:pt x="3026" y="788"/>
                    <a:pt x="3023" y="788"/>
                    <a:pt x="3020" y="788"/>
                  </a:cubicBezTo>
                  <a:cubicBezTo>
                    <a:pt x="2995" y="788"/>
                    <a:pt x="2975" y="808"/>
                    <a:pt x="2975" y="833"/>
                  </a:cubicBezTo>
                  <a:cubicBezTo>
                    <a:pt x="2975" y="857"/>
                    <a:pt x="2995" y="878"/>
                    <a:pt x="3020" y="878"/>
                  </a:cubicBezTo>
                  <a:cubicBezTo>
                    <a:pt x="3045" y="878"/>
                    <a:pt x="3065" y="857"/>
                    <a:pt x="3065" y="833"/>
                  </a:cubicBezTo>
                  <a:cubicBezTo>
                    <a:pt x="3065" y="817"/>
                    <a:pt x="3057" y="803"/>
                    <a:pt x="3044" y="795"/>
                  </a:cubicBezTo>
                  <a:cubicBezTo>
                    <a:pt x="3100" y="627"/>
                    <a:pt x="3100" y="627"/>
                    <a:pt x="3100" y="627"/>
                  </a:cubicBezTo>
                  <a:cubicBezTo>
                    <a:pt x="3115" y="631"/>
                    <a:pt x="3131" y="634"/>
                    <a:pt x="3147" y="634"/>
                  </a:cubicBezTo>
                  <a:cubicBezTo>
                    <a:pt x="3198" y="634"/>
                    <a:pt x="3243" y="611"/>
                    <a:pt x="3273" y="575"/>
                  </a:cubicBezTo>
                  <a:cubicBezTo>
                    <a:pt x="3459" y="656"/>
                    <a:pt x="3459" y="656"/>
                    <a:pt x="3459" y="656"/>
                  </a:cubicBezTo>
                  <a:cubicBezTo>
                    <a:pt x="3457" y="662"/>
                    <a:pt x="3456" y="669"/>
                    <a:pt x="3456" y="675"/>
                  </a:cubicBezTo>
                  <a:cubicBezTo>
                    <a:pt x="3456" y="722"/>
                    <a:pt x="3494" y="759"/>
                    <a:pt x="3540" y="759"/>
                  </a:cubicBezTo>
                  <a:cubicBezTo>
                    <a:pt x="3587" y="759"/>
                    <a:pt x="3624" y="722"/>
                    <a:pt x="3624" y="675"/>
                  </a:cubicBezTo>
                  <a:cubicBezTo>
                    <a:pt x="3624" y="629"/>
                    <a:pt x="3587" y="591"/>
                    <a:pt x="3540" y="591"/>
                  </a:cubicBezTo>
                  <a:cubicBezTo>
                    <a:pt x="3506" y="591"/>
                    <a:pt x="3477" y="612"/>
                    <a:pt x="3464" y="641"/>
                  </a:cubicBezTo>
                  <a:cubicBezTo>
                    <a:pt x="3283" y="562"/>
                    <a:pt x="3283" y="562"/>
                    <a:pt x="3283" y="562"/>
                  </a:cubicBezTo>
                  <a:cubicBezTo>
                    <a:pt x="3300" y="536"/>
                    <a:pt x="3311" y="504"/>
                    <a:pt x="3311" y="471"/>
                  </a:cubicBezTo>
                  <a:cubicBezTo>
                    <a:pt x="3311" y="460"/>
                    <a:pt x="3310" y="450"/>
                    <a:pt x="3308" y="440"/>
                  </a:cubicBezTo>
                  <a:cubicBezTo>
                    <a:pt x="3401" y="429"/>
                    <a:pt x="3401" y="429"/>
                    <a:pt x="3401" y="429"/>
                  </a:cubicBezTo>
                  <a:cubicBezTo>
                    <a:pt x="3408" y="445"/>
                    <a:pt x="3424" y="456"/>
                    <a:pt x="3442" y="456"/>
                  </a:cubicBezTo>
                  <a:cubicBezTo>
                    <a:pt x="3467" y="456"/>
                    <a:pt x="3487" y="435"/>
                    <a:pt x="3487" y="411"/>
                  </a:cubicBezTo>
                  <a:cubicBezTo>
                    <a:pt x="3487" y="400"/>
                    <a:pt x="3483" y="390"/>
                    <a:pt x="3477" y="382"/>
                  </a:cubicBezTo>
                  <a:cubicBezTo>
                    <a:pt x="3551" y="280"/>
                    <a:pt x="3551" y="280"/>
                    <a:pt x="3551" y="280"/>
                  </a:cubicBezTo>
                  <a:cubicBezTo>
                    <a:pt x="3571" y="291"/>
                    <a:pt x="3594" y="298"/>
                    <a:pt x="3618" y="298"/>
                  </a:cubicBezTo>
                  <a:cubicBezTo>
                    <a:pt x="3662" y="298"/>
                    <a:pt x="3702" y="277"/>
                    <a:pt x="3726" y="244"/>
                  </a:cubicBezTo>
                  <a:cubicBezTo>
                    <a:pt x="3856" y="333"/>
                    <a:pt x="3856" y="333"/>
                    <a:pt x="3856" y="333"/>
                  </a:cubicBezTo>
                  <a:cubicBezTo>
                    <a:pt x="3850" y="344"/>
                    <a:pt x="3846" y="357"/>
                    <a:pt x="3846" y="371"/>
                  </a:cubicBezTo>
                  <a:cubicBezTo>
                    <a:pt x="3846" y="418"/>
                    <a:pt x="3884" y="455"/>
                    <a:pt x="3930" y="455"/>
                  </a:cubicBezTo>
                  <a:cubicBezTo>
                    <a:pt x="3977" y="455"/>
                    <a:pt x="4014" y="418"/>
                    <a:pt x="4014" y="371"/>
                  </a:cubicBezTo>
                  <a:cubicBezTo>
                    <a:pt x="4014" y="325"/>
                    <a:pt x="3977" y="287"/>
                    <a:pt x="3930" y="287"/>
                  </a:cubicBezTo>
                  <a:close/>
                  <a:moveTo>
                    <a:pt x="2796" y="42"/>
                  </a:moveTo>
                  <a:cubicBezTo>
                    <a:pt x="2808" y="42"/>
                    <a:pt x="2818" y="52"/>
                    <a:pt x="2818" y="65"/>
                  </a:cubicBezTo>
                  <a:cubicBezTo>
                    <a:pt x="2818" y="77"/>
                    <a:pt x="2808" y="87"/>
                    <a:pt x="2796" y="87"/>
                  </a:cubicBezTo>
                  <a:cubicBezTo>
                    <a:pt x="2784" y="87"/>
                    <a:pt x="2774" y="77"/>
                    <a:pt x="2774" y="65"/>
                  </a:cubicBezTo>
                  <a:cubicBezTo>
                    <a:pt x="2774" y="52"/>
                    <a:pt x="2784" y="42"/>
                    <a:pt x="2796" y="42"/>
                  </a:cubicBezTo>
                  <a:close/>
                  <a:moveTo>
                    <a:pt x="2536" y="134"/>
                  </a:moveTo>
                  <a:cubicBezTo>
                    <a:pt x="2536" y="125"/>
                    <a:pt x="2543" y="118"/>
                    <a:pt x="2552" y="118"/>
                  </a:cubicBezTo>
                  <a:cubicBezTo>
                    <a:pt x="2561" y="118"/>
                    <a:pt x="2569" y="125"/>
                    <a:pt x="2569" y="134"/>
                  </a:cubicBezTo>
                  <a:cubicBezTo>
                    <a:pt x="2569" y="143"/>
                    <a:pt x="2561" y="150"/>
                    <a:pt x="2552" y="150"/>
                  </a:cubicBezTo>
                  <a:cubicBezTo>
                    <a:pt x="2543" y="150"/>
                    <a:pt x="2536" y="143"/>
                    <a:pt x="2536" y="134"/>
                  </a:cubicBezTo>
                  <a:close/>
                  <a:moveTo>
                    <a:pt x="1378" y="202"/>
                  </a:moveTo>
                  <a:cubicBezTo>
                    <a:pt x="1390" y="202"/>
                    <a:pt x="1400" y="212"/>
                    <a:pt x="1400" y="225"/>
                  </a:cubicBezTo>
                  <a:cubicBezTo>
                    <a:pt x="1400" y="237"/>
                    <a:pt x="1390" y="247"/>
                    <a:pt x="1378" y="247"/>
                  </a:cubicBezTo>
                  <a:cubicBezTo>
                    <a:pt x="1366" y="247"/>
                    <a:pt x="1356" y="237"/>
                    <a:pt x="1356" y="225"/>
                  </a:cubicBezTo>
                  <a:cubicBezTo>
                    <a:pt x="1356" y="212"/>
                    <a:pt x="1366" y="202"/>
                    <a:pt x="1378" y="202"/>
                  </a:cubicBezTo>
                  <a:close/>
                  <a:moveTo>
                    <a:pt x="744" y="45"/>
                  </a:moveTo>
                  <a:cubicBezTo>
                    <a:pt x="744" y="32"/>
                    <a:pt x="754" y="22"/>
                    <a:pt x="766" y="22"/>
                  </a:cubicBezTo>
                  <a:cubicBezTo>
                    <a:pt x="778" y="22"/>
                    <a:pt x="788" y="32"/>
                    <a:pt x="788" y="45"/>
                  </a:cubicBezTo>
                  <a:cubicBezTo>
                    <a:pt x="788" y="57"/>
                    <a:pt x="778" y="67"/>
                    <a:pt x="766" y="67"/>
                  </a:cubicBezTo>
                  <a:cubicBezTo>
                    <a:pt x="754" y="67"/>
                    <a:pt x="744" y="57"/>
                    <a:pt x="744" y="45"/>
                  </a:cubicBezTo>
                  <a:close/>
                  <a:moveTo>
                    <a:pt x="84" y="166"/>
                  </a:moveTo>
                  <a:cubicBezTo>
                    <a:pt x="61" y="166"/>
                    <a:pt x="42" y="147"/>
                    <a:pt x="42" y="123"/>
                  </a:cubicBezTo>
                  <a:cubicBezTo>
                    <a:pt x="42" y="100"/>
                    <a:pt x="61" y="81"/>
                    <a:pt x="84" y="81"/>
                  </a:cubicBezTo>
                  <a:cubicBezTo>
                    <a:pt x="108" y="81"/>
                    <a:pt x="127" y="100"/>
                    <a:pt x="127" y="123"/>
                  </a:cubicBezTo>
                  <a:cubicBezTo>
                    <a:pt x="127" y="147"/>
                    <a:pt x="108" y="166"/>
                    <a:pt x="84" y="166"/>
                  </a:cubicBezTo>
                  <a:close/>
                  <a:moveTo>
                    <a:pt x="214" y="593"/>
                  </a:moveTo>
                  <a:cubicBezTo>
                    <a:pt x="199" y="593"/>
                    <a:pt x="188" y="581"/>
                    <a:pt x="188" y="567"/>
                  </a:cubicBezTo>
                  <a:cubicBezTo>
                    <a:pt x="188" y="552"/>
                    <a:pt x="199" y="540"/>
                    <a:pt x="214" y="540"/>
                  </a:cubicBezTo>
                  <a:cubicBezTo>
                    <a:pt x="229" y="540"/>
                    <a:pt x="240" y="552"/>
                    <a:pt x="240" y="567"/>
                  </a:cubicBezTo>
                  <a:cubicBezTo>
                    <a:pt x="240" y="581"/>
                    <a:pt x="229" y="593"/>
                    <a:pt x="214" y="593"/>
                  </a:cubicBezTo>
                  <a:close/>
                  <a:moveTo>
                    <a:pt x="388" y="385"/>
                  </a:moveTo>
                  <a:cubicBezTo>
                    <a:pt x="330" y="385"/>
                    <a:pt x="282" y="339"/>
                    <a:pt x="282" y="282"/>
                  </a:cubicBezTo>
                  <a:cubicBezTo>
                    <a:pt x="282" y="225"/>
                    <a:pt x="330" y="179"/>
                    <a:pt x="388" y="179"/>
                  </a:cubicBezTo>
                  <a:cubicBezTo>
                    <a:pt x="447" y="179"/>
                    <a:pt x="494" y="225"/>
                    <a:pt x="494" y="282"/>
                  </a:cubicBezTo>
                  <a:cubicBezTo>
                    <a:pt x="494" y="339"/>
                    <a:pt x="447" y="385"/>
                    <a:pt x="388" y="385"/>
                  </a:cubicBezTo>
                  <a:close/>
                  <a:moveTo>
                    <a:pt x="706" y="423"/>
                  </a:moveTo>
                  <a:cubicBezTo>
                    <a:pt x="691" y="423"/>
                    <a:pt x="680" y="411"/>
                    <a:pt x="680" y="397"/>
                  </a:cubicBezTo>
                  <a:cubicBezTo>
                    <a:pt x="680" y="382"/>
                    <a:pt x="691" y="370"/>
                    <a:pt x="706" y="370"/>
                  </a:cubicBezTo>
                  <a:cubicBezTo>
                    <a:pt x="721" y="370"/>
                    <a:pt x="732" y="382"/>
                    <a:pt x="732" y="397"/>
                  </a:cubicBezTo>
                  <a:cubicBezTo>
                    <a:pt x="732" y="411"/>
                    <a:pt x="721" y="423"/>
                    <a:pt x="706" y="423"/>
                  </a:cubicBezTo>
                  <a:close/>
                  <a:moveTo>
                    <a:pt x="902" y="298"/>
                  </a:moveTo>
                  <a:cubicBezTo>
                    <a:pt x="866" y="298"/>
                    <a:pt x="837" y="269"/>
                    <a:pt x="837" y="233"/>
                  </a:cubicBezTo>
                  <a:cubicBezTo>
                    <a:pt x="837" y="197"/>
                    <a:pt x="866" y="168"/>
                    <a:pt x="902" y="168"/>
                  </a:cubicBezTo>
                  <a:cubicBezTo>
                    <a:pt x="938" y="168"/>
                    <a:pt x="967" y="197"/>
                    <a:pt x="967" y="233"/>
                  </a:cubicBezTo>
                  <a:cubicBezTo>
                    <a:pt x="967" y="269"/>
                    <a:pt x="938" y="298"/>
                    <a:pt x="902" y="298"/>
                  </a:cubicBezTo>
                  <a:close/>
                  <a:moveTo>
                    <a:pt x="1028" y="611"/>
                  </a:moveTo>
                  <a:cubicBezTo>
                    <a:pt x="1016" y="611"/>
                    <a:pt x="1006" y="601"/>
                    <a:pt x="1006" y="589"/>
                  </a:cubicBezTo>
                  <a:cubicBezTo>
                    <a:pt x="1006" y="576"/>
                    <a:pt x="1016" y="566"/>
                    <a:pt x="1028" y="566"/>
                  </a:cubicBezTo>
                  <a:cubicBezTo>
                    <a:pt x="1040" y="566"/>
                    <a:pt x="1050" y="576"/>
                    <a:pt x="1050" y="589"/>
                  </a:cubicBezTo>
                  <a:cubicBezTo>
                    <a:pt x="1050" y="601"/>
                    <a:pt x="1040" y="611"/>
                    <a:pt x="1028" y="611"/>
                  </a:cubicBezTo>
                  <a:close/>
                  <a:moveTo>
                    <a:pt x="1408" y="711"/>
                  </a:moveTo>
                  <a:cubicBezTo>
                    <a:pt x="1408" y="723"/>
                    <a:pt x="1398" y="733"/>
                    <a:pt x="1386" y="733"/>
                  </a:cubicBezTo>
                  <a:cubicBezTo>
                    <a:pt x="1374" y="733"/>
                    <a:pt x="1364" y="723"/>
                    <a:pt x="1364" y="711"/>
                  </a:cubicBezTo>
                  <a:cubicBezTo>
                    <a:pt x="1364" y="698"/>
                    <a:pt x="1374" y="688"/>
                    <a:pt x="1386" y="688"/>
                  </a:cubicBezTo>
                  <a:cubicBezTo>
                    <a:pt x="1398" y="688"/>
                    <a:pt x="1408" y="698"/>
                    <a:pt x="1408" y="711"/>
                  </a:cubicBezTo>
                  <a:close/>
                  <a:moveTo>
                    <a:pt x="1279" y="595"/>
                  </a:moveTo>
                  <a:cubicBezTo>
                    <a:pt x="1230" y="595"/>
                    <a:pt x="1190" y="555"/>
                    <a:pt x="1190" y="506"/>
                  </a:cubicBezTo>
                  <a:cubicBezTo>
                    <a:pt x="1190" y="456"/>
                    <a:pt x="1230" y="416"/>
                    <a:pt x="1279" y="416"/>
                  </a:cubicBezTo>
                  <a:cubicBezTo>
                    <a:pt x="1328" y="416"/>
                    <a:pt x="1368" y="456"/>
                    <a:pt x="1368" y="506"/>
                  </a:cubicBezTo>
                  <a:cubicBezTo>
                    <a:pt x="1368" y="555"/>
                    <a:pt x="1328" y="595"/>
                    <a:pt x="1279" y="595"/>
                  </a:cubicBezTo>
                  <a:close/>
                  <a:moveTo>
                    <a:pt x="2005" y="866"/>
                  </a:moveTo>
                  <a:cubicBezTo>
                    <a:pt x="1885" y="866"/>
                    <a:pt x="1788" y="769"/>
                    <a:pt x="1788" y="649"/>
                  </a:cubicBezTo>
                  <a:cubicBezTo>
                    <a:pt x="1788" y="529"/>
                    <a:pt x="1885" y="432"/>
                    <a:pt x="2005" y="432"/>
                  </a:cubicBezTo>
                  <a:cubicBezTo>
                    <a:pt x="2125" y="432"/>
                    <a:pt x="2222" y="529"/>
                    <a:pt x="2222" y="649"/>
                  </a:cubicBezTo>
                  <a:cubicBezTo>
                    <a:pt x="2222" y="769"/>
                    <a:pt x="2125" y="866"/>
                    <a:pt x="2005" y="866"/>
                  </a:cubicBezTo>
                  <a:close/>
                  <a:moveTo>
                    <a:pt x="2835" y="611"/>
                  </a:moveTo>
                  <a:cubicBezTo>
                    <a:pt x="2835" y="635"/>
                    <a:pt x="2816" y="654"/>
                    <a:pt x="2792" y="654"/>
                  </a:cubicBezTo>
                  <a:cubicBezTo>
                    <a:pt x="2769" y="654"/>
                    <a:pt x="2750" y="635"/>
                    <a:pt x="2750" y="611"/>
                  </a:cubicBezTo>
                  <a:cubicBezTo>
                    <a:pt x="2750" y="588"/>
                    <a:pt x="2769" y="569"/>
                    <a:pt x="2792" y="569"/>
                  </a:cubicBezTo>
                  <a:cubicBezTo>
                    <a:pt x="2816" y="569"/>
                    <a:pt x="2835" y="588"/>
                    <a:pt x="2835" y="611"/>
                  </a:cubicBezTo>
                  <a:close/>
                  <a:moveTo>
                    <a:pt x="2685" y="413"/>
                  </a:moveTo>
                  <a:cubicBezTo>
                    <a:pt x="2635" y="413"/>
                    <a:pt x="2594" y="372"/>
                    <a:pt x="2594" y="321"/>
                  </a:cubicBezTo>
                  <a:cubicBezTo>
                    <a:pt x="2594" y="271"/>
                    <a:pt x="2635" y="230"/>
                    <a:pt x="2685" y="230"/>
                  </a:cubicBezTo>
                  <a:cubicBezTo>
                    <a:pt x="2736" y="230"/>
                    <a:pt x="2777" y="271"/>
                    <a:pt x="2777" y="321"/>
                  </a:cubicBezTo>
                  <a:cubicBezTo>
                    <a:pt x="2777" y="372"/>
                    <a:pt x="2736" y="413"/>
                    <a:pt x="2685" y="413"/>
                  </a:cubicBezTo>
                  <a:close/>
                  <a:moveTo>
                    <a:pt x="3020" y="855"/>
                  </a:moveTo>
                  <a:cubicBezTo>
                    <a:pt x="3008" y="855"/>
                    <a:pt x="2998" y="845"/>
                    <a:pt x="2998" y="833"/>
                  </a:cubicBezTo>
                  <a:cubicBezTo>
                    <a:pt x="2998" y="820"/>
                    <a:pt x="3008" y="810"/>
                    <a:pt x="3020" y="810"/>
                  </a:cubicBezTo>
                  <a:cubicBezTo>
                    <a:pt x="3032" y="810"/>
                    <a:pt x="3042" y="820"/>
                    <a:pt x="3042" y="833"/>
                  </a:cubicBezTo>
                  <a:cubicBezTo>
                    <a:pt x="3042" y="845"/>
                    <a:pt x="3032" y="855"/>
                    <a:pt x="3020" y="855"/>
                  </a:cubicBezTo>
                  <a:close/>
                  <a:moveTo>
                    <a:pt x="3147" y="564"/>
                  </a:moveTo>
                  <a:cubicBezTo>
                    <a:pt x="3094" y="564"/>
                    <a:pt x="3051" y="521"/>
                    <a:pt x="3051" y="468"/>
                  </a:cubicBezTo>
                  <a:cubicBezTo>
                    <a:pt x="3051" y="415"/>
                    <a:pt x="3094" y="372"/>
                    <a:pt x="3147" y="372"/>
                  </a:cubicBezTo>
                  <a:cubicBezTo>
                    <a:pt x="3200" y="372"/>
                    <a:pt x="3243" y="415"/>
                    <a:pt x="3243" y="468"/>
                  </a:cubicBezTo>
                  <a:cubicBezTo>
                    <a:pt x="3243" y="521"/>
                    <a:pt x="3200" y="564"/>
                    <a:pt x="3147" y="564"/>
                  </a:cubicBezTo>
                  <a:close/>
                  <a:moveTo>
                    <a:pt x="3540" y="633"/>
                  </a:moveTo>
                  <a:cubicBezTo>
                    <a:pt x="3564" y="633"/>
                    <a:pt x="3583" y="652"/>
                    <a:pt x="3583" y="675"/>
                  </a:cubicBezTo>
                  <a:cubicBezTo>
                    <a:pt x="3583" y="699"/>
                    <a:pt x="3564" y="718"/>
                    <a:pt x="3540" y="718"/>
                  </a:cubicBezTo>
                  <a:cubicBezTo>
                    <a:pt x="3517" y="718"/>
                    <a:pt x="3498" y="699"/>
                    <a:pt x="3498" y="675"/>
                  </a:cubicBezTo>
                  <a:cubicBezTo>
                    <a:pt x="3498" y="652"/>
                    <a:pt x="3517" y="633"/>
                    <a:pt x="3540" y="633"/>
                  </a:cubicBezTo>
                  <a:close/>
                  <a:moveTo>
                    <a:pt x="3442" y="433"/>
                  </a:moveTo>
                  <a:cubicBezTo>
                    <a:pt x="3430" y="433"/>
                    <a:pt x="3420" y="423"/>
                    <a:pt x="3420" y="411"/>
                  </a:cubicBezTo>
                  <a:cubicBezTo>
                    <a:pt x="3420" y="398"/>
                    <a:pt x="3430" y="388"/>
                    <a:pt x="3442" y="388"/>
                  </a:cubicBezTo>
                  <a:cubicBezTo>
                    <a:pt x="3454" y="388"/>
                    <a:pt x="3464" y="398"/>
                    <a:pt x="3464" y="411"/>
                  </a:cubicBezTo>
                  <a:cubicBezTo>
                    <a:pt x="3464" y="423"/>
                    <a:pt x="3454" y="433"/>
                    <a:pt x="3442" y="433"/>
                  </a:cubicBezTo>
                  <a:close/>
                  <a:moveTo>
                    <a:pt x="3618" y="240"/>
                  </a:moveTo>
                  <a:cubicBezTo>
                    <a:pt x="3575" y="240"/>
                    <a:pt x="3539" y="205"/>
                    <a:pt x="3539" y="161"/>
                  </a:cubicBezTo>
                  <a:cubicBezTo>
                    <a:pt x="3539" y="117"/>
                    <a:pt x="3575" y="82"/>
                    <a:pt x="3618" y="82"/>
                  </a:cubicBezTo>
                  <a:cubicBezTo>
                    <a:pt x="3662" y="82"/>
                    <a:pt x="3697" y="117"/>
                    <a:pt x="3697" y="161"/>
                  </a:cubicBezTo>
                  <a:cubicBezTo>
                    <a:pt x="3697" y="205"/>
                    <a:pt x="3662" y="240"/>
                    <a:pt x="3618" y="240"/>
                  </a:cubicBezTo>
                  <a:close/>
                  <a:moveTo>
                    <a:pt x="3930" y="414"/>
                  </a:moveTo>
                  <a:cubicBezTo>
                    <a:pt x="3907" y="414"/>
                    <a:pt x="3888" y="395"/>
                    <a:pt x="3888" y="371"/>
                  </a:cubicBezTo>
                  <a:cubicBezTo>
                    <a:pt x="3888" y="348"/>
                    <a:pt x="3907" y="329"/>
                    <a:pt x="3930" y="329"/>
                  </a:cubicBezTo>
                  <a:cubicBezTo>
                    <a:pt x="3954" y="329"/>
                    <a:pt x="3973" y="348"/>
                    <a:pt x="3973" y="371"/>
                  </a:cubicBezTo>
                  <a:cubicBezTo>
                    <a:pt x="3973" y="395"/>
                    <a:pt x="3954" y="414"/>
                    <a:pt x="3930" y="4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0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73810" y="1006125"/>
            <a:ext cx="7920000" cy="1709843"/>
          </a:xfrm>
        </p:spPr>
        <p:txBody>
          <a:bodyPr tIns="0" anchor="b" anchorCtr="0">
            <a:noAutofit/>
          </a:bodyPr>
          <a:lstStyle>
            <a:lvl1pPr algn="l">
              <a:lnSpc>
                <a:spcPct val="80000"/>
              </a:lnSpc>
              <a:defRPr sz="6000" b="0" cap="none" baseline="0">
                <a:solidFill>
                  <a:schemeClr val="accent1">
                    <a:lumMod val="40000"/>
                    <a:lumOff val="60000"/>
                  </a:schemeClr>
                </a:solidFill>
                <a:latin typeface="Bebas Neue" panose="020B0506020202020201" pitchFamily="34" charset="0"/>
              </a:defRPr>
            </a:lvl1pPr>
          </a:lstStyle>
          <a:p>
            <a:r>
              <a:rPr lang="de-DE" dirty="0"/>
              <a:t>SECTION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073814" y="2715967"/>
            <a:ext cx="7920000" cy="666000"/>
          </a:xfrm>
        </p:spPr>
        <p:txBody>
          <a:bodyPr anchor="t" anchorCtr="0"/>
          <a:lstStyle>
            <a:lvl1pPr marL="0" marR="0" indent="0" algn="l" defTabSz="91412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 sz="3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06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141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825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237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650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SUBTITLE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256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2" y="1483952"/>
            <a:ext cx="1113441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06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2" y="1483952"/>
            <a:ext cx="1113441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539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1" y="1483952"/>
            <a:ext cx="846000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474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6"/>
          </p:nvPr>
        </p:nvSpPr>
        <p:spPr>
          <a:xfrm>
            <a:off x="6310800" y="1476439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426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6"/>
          </p:nvPr>
        </p:nvSpPr>
        <p:spPr>
          <a:xfrm>
            <a:off x="6310803" y="1483952"/>
            <a:ext cx="5879612" cy="432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918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en-US" dirty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3" y="942477"/>
            <a:ext cx="11133137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16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86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2190410" cy="5803200"/>
          </a:xfrm>
          <a:prstGeom prst="rect">
            <a:avLst/>
          </a:prstGeom>
          <a:solidFill>
            <a:srgbClr val="29292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87966" tIns="43982" rIns="87966" bIns="43982" numCol="1" anchor="t" anchorCtr="0" compatLnSpc="1">
            <a:prstTxWarp prst="textNoShape">
              <a:avLst/>
            </a:prstTxWarp>
          </a:bodyPr>
          <a:lstStyle/>
          <a:p>
            <a:pPr defTabSz="875647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2" y="5803200"/>
            <a:ext cx="12190410" cy="1054800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87966" tIns="43982" rIns="87966" bIns="43982" numCol="1" anchor="t" anchorCtr="0" compatLnSpc="1">
            <a:prstTxWarp prst="textNoShape">
              <a:avLst/>
            </a:prstTxWarp>
          </a:bodyPr>
          <a:lstStyle/>
          <a:p>
            <a:pPr defTabSz="875647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104502" y="-2129240"/>
            <a:ext cx="184712" cy="384711"/>
          </a:xfrm>
          <a:prstGeom prst="rect">
            <a:avLst/>
          </a:prstGeom>
          <a:noFill/>
        </p:spPr>
        <p:txBody>
          <a:bodyPr wrap="none" lIns="87974" tIns="43986" rIns="87974" bIns="43986" rtlCol="0">
            <a:spAutoFit/>
          </a:bodyPr>
          <a:lstStyle/>
          <a:p>
            <a:pPr defTabSz="875647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044376" y="16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044376" y="3741457"/>
            <a:ext cx="10101664" cy="2061759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400">
                <a:solidFill>
                  <a:srgbClr val="B2B2B2"/>
                </a:solidFill>
              </a:defRPr>
            </a:lvl1pPr>
            <a:lvl2pPr marL="43798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8757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1355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75136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18917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6270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06482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50266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pPr lvl="0"/>
            <a:endParaRPr lang="en-US" dirty="0"/>
          </a:p>
          <a:p>
            <a:pPr lvl="0"/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80161" y="6152561"/>
            <a:ext cx="6828818" cy="360000"/>
          </a:xfrm>
        </p:spPr>
        <p:txBody>
          <a:bodyPr/>
          <a:lstStyle/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16253" y="6152561"/>
            <a:ext cx="914308" cy="360000"/>
          </a:xfrm>
        </p:spPr>
        <p:txBody>
          <a:bodyPr/>
          <a:lstStyle/>
          <a:p>
            <a:fld id="{75A4F164-3A46-4CEE-A25C-CA523D5E42F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02FC7AC-006F-479F-866F-B568642AFF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96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0413" cy="6858000"/>
          </a:xfrm>
          <a:solidFill>
            <a:schemeClr val="bg1">
              <a:lumMod val="85000"/>
            </a:schemeClr>
          </a:solidFill>
        </p:spPr>
        <p:txBody>
          <a:bodyPr lIns="137957" tIns="137957" rIns="137957" bIns="137957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210177" y="6084000"/>
            <a:ext cx="1440001" cy="360000"/>
          </a:xfrm>
          <a:prstGeom prst="rect">
            <a:avLst/>
          </a:prstGeom>
        </p:spPr>
        <p:txBody>
          <a:bodyPr lIns="87974" tIns="43986" rIns="87974" bIns="43986"/>
          <a:lstStyle/>
          <a:p>
            <a:pPr defTabSz="875647"/>
            <a:fld id="{27FC3DAB-407D-4279-8EB6-232635B61438}" type="datetimeFigureOut">
              <a:rPr lang="en-US" sz="1900" smtClean="0">
                <a:solidFill>
                  <a:prstClr val="black"/>
                </a:solidFill>
              </a:rPr>
              <a:pPr defTabSz="875647"/>
              <a:t>6/4/2021</a:t>
            </a:fld>
            <a:endParaRPr lang="en-US" sz="190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98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2190410" cy="5803200"/>
          </a:xfrm>
          <a:prstGeom prst="rect">
            <a:avLst/>
          </a:prstGeom>
          <a:solidFill>
            <a:srgbClr val="29292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87974" tIns="43986" rIns="87974" bIns="43986" numCol="1" anchor="t" anchorCtr="0" compatLnSpc="1">
            <a:prstTxWarp prst="textNoShape">
              <a:avLst/>
            </a:prstTxWarp>
          </a:bodyPr>
          <a:lstStyle/>
          <a:p>
            <a:pPr defTabSz="875735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2" y="5803200"/>
            <a:ext cx="12190410" cy="1054800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87974" tIns="43986" rIns="87974" bIns="43986" numCol="1" anchor="t" anchorCtr="0" compatLnSpc="1">
            <a:prstTxWarp prst="textNoShape">
              <a:avLst/>
            </a:prstTxWarp>
          </a:bodyPr>
          <a:lstStyle/>
          <a:p>
            <a:pPr defTabSz="875735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104502" y="-2129240"/>
            <a:ext cx="184712" cy="384711"/>
          </a:xfrm>
          <a:prstGeom prst="rect">
            <a:avLst/>
          </a:prstGeom>
          <a:noFill/>
        </p:spPr>
        <p:txBody>
          <a:bodyPr wrap="none" lIns="87982" tIns="43990" rIns="87982" bIns="43990" rtlCol="0">
            <a:spAutoFit/>
          </a:bodyPr>
          <a:lstStyle/>
          <a:p>
            <a:pPr defTabSz="8757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044376" y="14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044376" y="3741455"/>
            <a:ext cx="10101664" cy="2061759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400">
                <a:solidFill>
                  <a:srgbClr val="B2B2B2"/>
                </a:solidFill>
              </a:defRPr>
            </a:lvl1pPr>
            <a:lvl2pPr marL="43802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8758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1368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75153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18939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62728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06513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50301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pPr lvl="0"/>
            <a:endParaRPr lang="en-US" dirty="0"/>
          </a:p>
          <a:p>
            <a:pPr lvl="0"/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80161" y="6152561"/>
            <a:ext cx="6828818" cy="360000"/>
          </a:xfrm>
        </p:spPr>
        <p:txBody>
          <a:bodyPr/>
          <a:lstStyle/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16253" y="6152561"/>
            <a:ext cx="914308" cy="360000"/>
          </a:xfrm>
        </p:spPr>
        <p:txBody>
          <a:bodyPr/>
          <a:lstStyle/>
          <a:p>
            <a:fld id="{75A4F164-3A46-4CEE-A25C-CA523D5E42F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EA579E-6E79-4AD3-B464-ABCC1A32CC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22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0413" cy="6858000"/>
          </a:xfrm>
          <a:solidFill>
            <a:schemeClr val="bg1">
              <a:lumMod val="85000"/>
            </a:schemeClr>
          </a:solidFill>
        </p:spPr>
        <p:txBody>
          <a:bodyPr lIns="137970" tIns="137970" rIns="137970" bIns="13797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210175" y="6084000"/>
            <a:ext cx="1440001" cy="360000"/>
          </a:xfrm>
          <a:prstGeom prst="rect">
            <a:avLst/>
          </a:prstGeom>
        </p:spPr>
        <p:txBody>
          <a:bodyPr lIns="87982" tIns="43990" rIns="87982" bIns="43990"/>
          <a:lstStyle/>
          <a:p>
            <a:pPr defTabSz="875735"/>
            <a:fld id="{27FC3DAB-407D-4279-8EB6-232635B61438}" type="datetimeFigureOut">
              <a:rPr lang="en-US" sz="1900" smtClean="0">
                <a:solidFill>
                  <a:prstClr val="black"/>
                </a:solidFill>
              </a:rPr>
              <a:pPr defTabSz="875735"/>
              <a:t>6/4/2021</a:t>
            </a:fld>
            <a:endParaRPr lang="en-US" sz="190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152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vert="horz" lIns="10798" tIns="0" rIns="0" bIns="0" rtlCol="0" anchor="t" anchorCtr="0">
            <a:noAutofit/>
          </a:bodyPr>
          <a:lstStyle>
            <a:lvl1pPr marL="342798" indent="-342798">
              <a:buFont typeface="Arial" panose="020B0604020202020204" pitchFamily="34" charset="0"/>
              <a:buNone/>
              <a:defRPr lang="en-US" noProof="1"/>
            </a:lvl1pPr>
          </a:lstStyle>
          <a:p>
            <a:pPr marL="0" lvl="0" indent="0"/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dirty="0"/>
              <a:t>Enter your footer text here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16251" y="1483952"/>
            <a:ext cx="8460000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14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2190410" cy="5803200"/>
          </a:xfrm>
          <a:prstGeom prst="rect">
            <a:avLst/>
          </a:prstGeom>
          <a:solidFill>
            <a:srgbClr val="29292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87990" tIns="43994" rIns="87990" bIns="43994" numCol="1" anchor="t" anchorCtr="0" compatLnSpc="1">
            <a:prstTxWarp prst="textNoShape">
              <a:avLst/>
            </a:prstTxWarp>
          </a:bodyPr>
          <a:lstStyle/>
          <a:p>
            <a:pPr defTabSz="875911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2" y="5803200"/>
            <a:ext cx="12190410" cy="1054800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87990" tIns="43994" rIns="87990" bIns="43994" numCol="1" anchor="t" anchorCtr="0" compatLnSpc="1">
            <a:prstTxWarp prst="textNoShape">
              <a:avLst/>
            </a:prstTxWarp>
          </a:bodyPr>
          <a:lstStyle/>
          <a:p>
            <a:pPr defTabSz="875911"/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-104502" y="-2129240"/>
            <a:ext cx="184712" cy="384711"/>
          </a:xfrm>
          <a:prstGeom prst="rect">
            <a:avLst/>
          </a:prstGeom>
          <a:noFill/>
        </p:spPr>
        <p:txBody>
          <a:bodyPr wrap="none" lIns="87998" tIns="43998" rIns="87998" bIns="43998" rtlCol="0">
            <a:spAutoFit/>
          </a:bodyPr>
          <a:lstStyle/>
          <a:p>
            <a:pPr defTabSz="87591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044376" y="11"/>
            <a:ext cx="10101664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8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044376" y="3741453"/>
            <a:ext cx="10101664" cy="2061759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400">
                <a:solidFill>
                  <a:srgbClr val="B2B2B2"/>
                </a:solidFill>
              </a:defRPr>
            </a:lvl1pPr>
            <a:lvl2pPr marL="43811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87599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1395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751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18983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62780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06574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50371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  <a:p>
            <a:pPr lvl="0"/>
            <a:endParaRPr lang="en-US" dirty="0"/>
          </a:p>
          <a:p>
            <a:pPr lvl="0"/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80161" y="6152561"/>
            <a:ext cx="6828818" cy="360000"/>
          </a:xfrm>
        </p:spPr>
        <p:txBody>
          <a:bodyPr/>
          <a:lstStyle/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16253" y="6152561"/>
            <a:ext cx="914308" cy="360000"/>
          </a:xfrm>
        </p:spPr>
        <p:txBody>
          <a:bodyPr/>
          <a:lstStyle/>
          <a:p>
            <a:fld id="{75A4F164-3A46-4CEE-A25C-CA523D5E42F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80B4C00-9EDC-45B6-9827-1B2E020A59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376" y="6272469"/>
            <a:ext cx="2073859" cy="3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06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0413" cy="6858000"/>
          </a:xfrm>
          <a:solidFill>
            <a:schemeClr val="bg1">
              <a:lumMod val="85000"/>
            </a:schemeClr>
          </a:solidFill>
        </p:spPr>
        <p:txBody>
          <a:bodyPr lIns="137997" tIns="137997" rIns="137997" bIns="137997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210173" y="6084000"/>
            <a:ext cx="1440001" cy="360000"/>
          </a:xfrm>
          <a:prstGeom prst="rect">
            <a:avLst/>
          </a:prstGeom>
        </p:spPr>
        <p:txBody>
          <a:bodyPr lIns="87998" tIns="43998" rIns="87998" bIns="43998"/>
          <a:lstStyle/>
          <a:p>
            <a:pPr defTabSz="875911"/>
            <a:fld id="{27FC3DAB-407D-4279-8EB6-232635B61438}" type="datetimeFigureOut">
              <a:rPr lang="en-US" sz="1900" smtClean="0">
                <a:solidFill>
                  <a:prstClr val="black"/>
                </a:solidFill>
              </a:rPr>
              <a:pPr defTabSz="875911"/>
              <a:t>6/4/2021</a:t>
            </a:fld>
            <a:endParaRPr lang="en-US" sz="190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949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vert="horz" lIns="10798" tIns="0" rIns="0" bIns="0" rtlCol="0" anchor="t" anchorCtr="0">
            <a:noAutofit/>
          </a:bodyPr>
          <a:lstStyle>
            <a:lvl1pPr marL="272967" indent="-272967">
              <a:buNone/>
              <a:defRPr lang="en-US" noProof="1"/>
            </a:lvl1pPr>
          </a:lstStyle>
          <a:p>
            <a:pPr marL="0" lvl="0" indent="0"/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6"/>
          </p:nvPr>
        </p:nvSpPr>
        <p:spPr>
          <a:xfrm>
            <a:off x="6310800" y="1476439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572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5" y="942477"/>
            <a:ext cx="11134410" cy="541475"/>
          </a:xfrm>
        </p:spPr>
        <p:txBody>
          <a:bodyPr lIns="10798" anchor="t" anchorCtr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16252" y="1483952"/>
            <a:ext cx="5324764" cy="4320000"/>
          </a:xfrm>
          <a:noFill/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6"/>
          </p:nvPr>
        </p:nvSpPr>
        <p:spPr>
          <a:xfrm>
            <a:off x="6310803" y="1483952"/>
            <a:ext cx="5879612" cy="432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81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6255" y="410829"/>
            <a:ext cx="11134410" cy="1073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3" y="942477"/>
            <a:ext cx="11133137" cy="541475"/>
          </a:xfrm>
        </p:spPr>
        <p:txBody>
          <a:bodyPr vert="horz" lIns="10798" tIns="0" rIns="0" bIns="0" rtlCol="0" anchor="t" anchorCtr="0">
            <a:noAutofit/>
          </a:bodyPr>
          <a:lstStyle>
            <a:lvl1pPr marL="272967" indent="-272967">
              <a:buNone/>
              <a:defRPr lang="en-US" noProof="1"/>
            </a:lvl1pPr>
          </a:lstStyle>
          <a:p>
            <a:pPr marL="0" lvl="0" indent="0"/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10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10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-1525" y="0"/>
            <a:ext cx="1219193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6" rIns="91414" bIns="45706" rtlCol="0" anchor="ctr"/>
          <a:lstStyle/>
          <a:p>
            <a:pPr algn="ctr"/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787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0"/>
            <a:ext cx="12190413" cy="6858000"/>
          </a:xfrm>
          <a:prstGeom prst="rect">
            <a:avLst/>
          </a:prstGeom>
          <a:solidFill>
            <a:srgbClr val="C8303F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06" tIns="45702" rIns="91406" bIns="45702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954111" y="6076361"/>
            <a:ext cx="427585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516253" y="6076361"/>
            <a:ext cx="914308" cy="360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253" y="942477"/>
            <a:ext cx="11133137" cy="541475"/>
          </a:xfrm>
        </p:spPr>
        <p:txBody>
          <a:bodyPr lIns="10798" anchor="t" anchorCtr="0"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16256" y="1483952"/>
            <a:ext cx="11133349" cy="4319248"/>
          </a:xfrm>
          <a:noFill/>
        </p:spPr>
        <p:txBody>
          <a:bodyPr/>
          <a:lstStyle>
            <a:lvl1pPr>
              <a:defRPr sz="2300">
                <a:solidFill>
                  <a:srgbClr val="DDDDDD"/>
                </a:solidFill>
              </a:defRPr>
            </a:lvl1pPr>
            <a:lvl2pPr>
              <a:defRPr>
                <a:solidFill>
                  <a:srgbClr val="DDDDDD"/>
                </a:solidFill>
              </a:defRPr>
            </a:lvl2pPr>
            <a:lvl3pPr>
              <a:defRPr>
                <a:solidFill>
                  <a:srgbClr val="DDDDDD"/>
                </a:solidFill>
              </a:defRPr>
            </a:lvl3pPr>
            <a:lvl4pPr>
              <a:defRPr>
                <a:solidFill>
                  <a:srgbClr val="DDDDDD"/>
                </a:solidFill>
              </a:defRPr>
            </a:lvl4pPr>
            <a:lvl5pPr>
              <a:defRPr>
                <a:solidFill>
                  <a:srgbClr val="DDDDDD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14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-1525" y="0"/>
            <a:ext cx="12191938" cy="6858000"/>
          </a:xfrm>
          <a:prstGeom prst="rect">
            <a:avLst/>
          </a:prstGeom>
          <a:solidFill>
            <a:srgbClr val="8D97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6" rIns="91414" bIns="45706" rtlCol="0" anchor="ctr"/>
          <a:lstStyle/>
          <a:p>
            <a:pPr algn="ctr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16255" y="410829"/>
            <a:ext cx="11134410" cy="107312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16255" y="1483952"/>
            <a:ext cx="11134410" cy="4321536"/>
          </a:xfrm>
          <a:prstGeom prst="rect">
            <a:avLst/>
          </a:prstGeom>
        </p:spPr>
        <p:txBody>
          <a:bodyPr vert="horz" lIns="10798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bg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Freeform 7"/>
          <p:cNvSpPr>
            <a:spLocks noEditPoints="1"/>
          </p:cNvSpPr>
          <p:nvPr userDrawn="1"/>
        </p:nvSpPr>
        <p:spPr bwMode="auto">
          <a:xfrm rot="16756386">
            <a:off x="9541985" y="868880"/>
            <a:ext cx="3700399" cy="2613310"/>
          </a:xfrm>
          <a:custGeom>
            <a:avLst/>
            <a:gdLst>
              <a:gd name="T0" fmla="*/ 1349 w 1530"/>
              <a:gd name="T1" fmla="*/ 208 h 1081"/>
              <a:gd name="T2" fmla="*/ 1000 w 1530"/>
              <a:gd name="T3" fmla="*/ 30 h 1081"/>
              <a:gd name="T4" fmla="*/ 991 w 1530"/>
              <a:gd name="T5" fmla="*/ 416 h 1081"/>
              <a:gd name="T6" fmla="*/ 944 w 1530"/>
              <a:gd name="T7" fmla="*/ 482 h 1081"/>
              <a:gd name="T8" fmla="*/ 563 w 1530"/>
              <a:gd name="T9" fmla="*/ 643 h 1081"/>
              <a:gd name="T10" fmla="*/ 248 w 1530"/>
              <a:gd name="T11" fmla="*/ 520 h 1081"/>
              <a:gd name="T12" fmla="*/ 280 w 1530"/>
              <a:gd name="T13" fmla="*/ 374 h 1081"/>
              <a:gd name="T14" fmla="*/ 230 w 1530"/>
              <a:gd name="T15" fmla="*/ 437 h 1081"/>
              <a:gd name="T16" fmla="*/ 109 w 1530"/>
              <a:gd name="T17" fmla="*/ 582 h 1081"/>
              <a:gd name="T18" fmla="*/ 23 w 1530"/>
              <a:gd name="T19" fmla="*/ 526 h 1081"/>
              <a:gd name="T20" fmla="*/ 55 w 1530"/>
              <a:gd name="T21" fmla="*/ 575 h 1081"/>
              <a:gd name="T22" fmla="*/ 143 w 1530"/>
              <a:gd name="T23" fmla="*/ 811 h 1081"/>
              <a:gd name="T24" fmla="*/ 157 w 1530"/>
              <a:gd name="T25" fmla="*/ 820 h 1081"/>
              <a:gd name="T26" fmla="*/ 387 w 1530"/>
              <a:gd name="T27" fmla="*/ 851 h 1081"/>
              <a:gd name="T28" fmla="*/ 530 w 1530"/>
              <a:gd name="T29" fmla="*/ 876 h 1081"/>
              <a:gd name="T30" fmla="*/ 348 w 1530"/>
              <a:gd name="T31" fmla="*/ 795 h 1081"/>
              <a:gd name="T32" fmla="*/ 577 w 1530"/>
              <a:gd name="T33" fmla="*/ 701 h 1081"/>
              <a:gd name="T34" fmla="*/ 737 w 1530"/>
              <a:gd name="T35" fmla="*/ 986 h 1081"/>
              <a:gd name="T36" fmla="*/ 797 w 1530"/>
              <a:gd name="T37" fmla="*/ 1011 h 1081"/>
              <a:gd name="T38" fmla="*/ 796 w 1530"/>
              <a:gd name="T39" fmla="*/ 790 h 1081"/>
              <a:gd name="T40" fmla="*/ 1104 w 1530"/>
              <a:gd name="T41" fmla="*/ 706 h 1081"/>
              <a:gd name="T42" fmla="*/ 1150 w 1530"/>
              <a:gd name="T43" fmla="*/ 593 h 1081"/>
              <a:gd name="T44" fmla="*/ 886 w 1530"/>
              <a:gd name="T45" fmla="*/ 571 h 1081"/>
              <a:gd name="T46" fmla="*/ 1004 w 1530"/>
              <a:gd name="T47" fmla="*/ 505 h 1081"/>
              <a:gd name="T48" fmla="*/ 1037 w 1530"/>
              <a:gd name="T49" fmla="*/ 295 h 1081"/>
              <a:gd name="T50" fmla="*/ 1347 w 1530"/>
              <a:gd name="T51" fmla="*/ 224 h 1081"/>
              <a:gd name="T52" fmla="*/ 1511 w 1530"/>
              <a:gd name="T53" fmla="*/ 197 h 1081"/>
              <a:gd name="T54" fmla="*/ 28 w 1530"/>
              <a:gd name="T55" fmla="*/ 538 h 1081"/>
              <a:gd name="T56" fmla="*/ 217 w 1530"/>
              <a:gd name="T57" fmla="*/ 400 h 1081"/>
              <a:gd name="T58" fmla="*/ 246 w 1530"/>
              <a:gd name="T59" fmla="*/ 412 h 1081"/>
              <a:gd name="T60" fmla="*/ 148 w 1530"/>
              <a:gd name="T61" fmla="*/ 714 h 1081"/>
              <a:gd name="T62" fmla="*/ 271 w 1530"/>
              <a:gd name="T63" fmla="*/ 765 h 1081"/>
              <a:gd name="T64" fmla="*/ 468 w 1530"/>
              <a:gd name="T65" fmla="*/ 950 h 1081"/>
              <a:gd name="T66" fmla="*/ 775 w 1530"/>
              <a:gd name="T67" fmla="*/ 1020 h 1081"/>
              <a:gd name="T68" fmla="*/ 745 w 1530"/>
              <a:gd name="T69" fmla="*/ 1007 h 1081"/>
              <a:gd name="T70" fmla="*/ 639 w 1530"/>
              <a:gd name="T71" fmla="*/ 671 h 1081"/>
              <a:gd name="T72" fmla="*/ 768 w 1530"/>
              <a:gd name="T73" fmla="*/ 724 h 1081"/>
              <a:gd name="T74" fmla="*/ 1201 w 1530"/>
              <a:gd name="T75" fmla="*/ 714 h 1081"/>
              <a:gd name="T76" fmla="*/ 995 w 1530"/>
              <a:gd name="T77" fmla="*/ 483 h 1081"/>
              <a:gd name="T78" fmla="*/ 1007 w 1530"/>
              <a:gd name="T79" fmla="*/ 453 h 1081"/>
              <a:gd name="T80" fmla="*/ 978 w 1530"/>
              <a:gd name="T81" fmla="*/ 187 h 1081"/>
              <a:gd name="T82" fmla="*/ 1085 w 1530"/>
              <a:gd name="T83" fmla="*/ 230 h 1081"/>
              <a:gd name="T84" fmla="*/ 1415 w 1530"/>
              <a:gd name="T85" fmla="*/ 191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30" h="1081">
                <a:moveTo>
                  <a:pt x="1511" y="197"/>
                </a:moveTo>
                <a:cubicBezTo>
                  <a:pt x="1493" y="154"/>
                  <a:pt x="1443" y="132"/>
                  <a:pt x="1398" y="151"/>
                </a:cubicBezTo>
                <a:cubicBezTo>
                  <a:pt x="1373" y="162"/>
                  <a:pt x="1356" y="183"/>
                  <a:pt x="1349" y="208"/>
                </a:cubicBezTo>
                <a:cubicBezTo>
                  <a:pt x="1192" y="175"/>
                  <a:pt x="1192" y="175"/>
                  <a:pt x="1192" y="175"/>
                </a:cubicBezTo>
                <a:cubicBezTo>
                  <a:pt x="1195" y="152"/>
                  <a:pt x="1192" y="128"/>
                  <a:pt x="1182" y="104"/>
                </a:cubicBezTo>
                <a:cubicBezTo>
                  <a:pt x="1152" y="33"/>
                  <a:pt x="1071" y="0"/>
                  <a:pt x="1000" y="30"/>
                </a:cubicBezTo>
                <a:cubicBezTo>
                  <a:pt x="930" y="59"/>
                  <a:pt x="896" y="140"/>
                  <a:pt x="926" y="211"/>
                </a:cubicBezTo>
                <a:cubicBezTo>
                  <a:pt x="944" y="253"/>
                  <a:pt x="980" y="282"/>
                  <a:pt x="1022" y="292"/>
                </a:cubicBezTo>
                <a:cubicBezTo>
                  <a:pt x="991" y="416"/>
                  <a:pt x="991" y="416"/>
                  <a:pt x="991" y="416"/>
                </a:cubicBezTo>
                <a:cubicBezTo>
                  <a:pt x="984" y="415"/>
                  <a:pt x="976" y="416"/>
                  <a:pt x="968" y="420"/>
                </a:cubicBezTo>
                <a:cubicBezTo>
                  <a:pt x="944" y="429"/>
                  <a:pt x="933" y="456"/>
                  <a:pt x="943" y="480"/>
                </a:cubicBezTo>
                <a:cubicBezTo>
                  <a:pt x="944" y="481"/>
                  <a:pt x="944" y="481"/>
                  <a:pt x="944" y="482"/>
                </a:cubicBezTo>
                <a:cubicBezTo>
                  <a:pt x="861" y="529"/>
                  <a:pt x="861" y="529"/>
                  <a:pt x="861" y="529"/>
                </a:cubicBezTo>
                <a:cubicBezTo>
                  <a:pt x="815" y="474"/>
                  <a:pt x="736" y="451"/>
                  <a:pt x="666" y="481"/>
                </a:cubicBezTo>
                <a:cubicBezTo>
                  <a:pt x="599" y="509"/>
                  <a:pt x="560" y="574"/>
                  <a:pt x="563" y="643"/>
                </a:cubicBezTo>
                <a:cubicBezTo>
                  <a:pt x="394" y="659"/>
                  <a:pt x="394" y="659"/>
                  <a:pt x="394" y="659"/>
                </a:cubicBezTo>
                <a:cubicBezTo>
                  <a:pt x="392" y="646"/>
                  <a:pt x="388" y="632"/>
                  <a:pt x="383" y="619"/>
                </a:cubicBezTo>
                <a:cubicBezTo>
                  <a:pt x="359" y="561"/>
                  <a:pt x="306" y="525"/>
                  <a:pt x="248" y="520"/>
                </a:cubicBezTo>
                <a:cubicBezTo>
                  <a:pt x="246" y="437"/>
                  <a:pt x="246" y="437"/>
                  <a:pt x="246" y="437"/>
                </a:cubicBezTo>
                <a:cubicBezTo>
                  <a:pt x="249" y="435"/>
                  <a:pt x="252" y="435"/>
                  <a:pt x="255" y="434"/>
                </a:cubicBezTo>
                <a:cubicBezTo>
                  <a:pt x="279" y="424"/>
                  <a:pt x="290" y="396"/>
                  <a:pt x="280" y="374"/>
                </a:cubicBezTo>
                <a:cubicBezTo>
                  <a:pt x="270" y="350"/>
                  <a:pt x="243" y="339"/>
                  <a:pt x="220" y="349"/>
                </a:cubicBezTo>
                <a:cubicBezTo>
                  <a:pt x="196" y="359"/>
                  <a:pt x="185" y="386"/>
                  <a:pt x="195" y="409"/>
                </a:cubicBezTo>
                <a:cubicBezTo>
                  <a:pt x="201" y="424"/>
                  <a:pt x="215" y="434"/>
                  <a:pt x="230" y="437"/>
                </a:cubicBezTo>
                <a:cubicBezTo>
                  <a:pt x="232" y="521"/>
                  <a:pt x="232" y="521"/>
                  <a:pt x="232" y="521"/>
                </a:cubicBezTo>
                <a:cubicBezTo>
                  <a:pt x="212" y="521"/>
                  <a:pt x="192" y="525"/>
                  <a:pt x="173" y="533"/>
                </a:cubicBezTo>
                <a:cubicBezTo>
                  <a:pt x="148" y="544"/>
                  <a:pt x="126" y="561"/>
                  <a:pt x="109" y="582"/>
                </a:cubicBezTo>
                <a:cubicBezTo>
                  <a:pt x="63" y="561"/>
                  <a:pt x="63" y="561"/>
                  <a:pt x="63" y="561"/>
                </a:cubicBezTo>
                <a:cubicBezTo>
                  <a:pt x="64" y="554"/>
                  <a:pt x="64" y="548"/>
                  <a:pt x="61" y="542"/>
                </a:cubicBezTo>
                <a:cubicBezTo>
                  <a:pt x="55" y="527"/>
                  <a:pt x="38" y="520"/>
                  <a:pt x="23" y="526"/>
                </a:cubicBezTo>
                <a:cubicBezTo>
                  <a:pt x="7" y="533"/>
                  <a:pt x="0" y="550"/>
                  <a:pt x="7" y="565"/>
                </a:cubicBezTo>
                <a:cubicBezTo>
                  <a:pt x="13" y="580"/>
                  <a:pt x="30" y="587"/>
                  <a:pt x="46" y="581"/>
                </a:cubicBezTo>
                <a:cubicBezTo>
                  <a:pt x="49" y="579"/>
                  <a:pt x="52" y="577"/>
                  <a:pt x="55" y="575"/>
                </a:cubicBezTo>
                <a:cubicBezTo>
                  <a:pt x="99" y="595"/>
                  <a:pt x="99" y="595"/>
                  <a:pt x="99" y="595"/>
                </a:cubicBezTo>
                <a:cubicBezTo>
                  <a:pt x="73" y="638"/>
                  <a:pt x="67" y="692"/>
                  <a:pt x="88" y="742"/>
                </a:cubicBezTo>
                <a:cubicBezTo>
                  <a:pt x="100" y="771"/>
                  <a:pt x="120" y="795"/>
                  <a:pt x="143" y="811"/>
                </a:cubicBezTo>
                <a:cubicBezTo>
                  <a:pt x="54" y="940"/>
                  <a:pt x="17" y="993"/>
                  <a:pt x="2" y="1015"/>
                </a:cubicBezTo>
                <a:cubicBezTo>
                  <a:pt x="2" y="1043"/>
                  <a:pt x="2" y="1043"/>
                  <a:pt x="2" y="1043"/>
                </a:cubicBezTo>
                <a:cubicBezTo>
                  <a:pt x="157" y="820"/>
                  <a:pt x="157" y="820"/>
                  <a:pt x="157" y="820"/>
                </a:cubicBezTo>
                <a:cubicBezTo>
                  <a:pt x="199" y="843"/>
                  <a:pt x="250" y="848"/>
                  <a:pt x="297" y="828"/>
                </a:cubicBezTo>
                <a:cubicBezTo>
                  <a:pt x="312" y="822"/>
                  <a:pt x="325" y="814"/>
                  <a:pt x="336" y="805"/>
                </a:cubicBezTo>
                <a:cubicBezTo>
                  <a:pt x="387" y="851"/>
                  <a:pt x="387" y="851"/>
                  <a:pt x="387" y="851"/>
                </a:cubicBezTo>
                <a:cubicBezTo>
                  <a:pt x="365" y="875"/>
                  <a:pt x="358" y="911"/>
                  <a:pt x="371" y="943"/>
                </a:cubicBezTo>
                <a:cubicBezTo>
                  <a:pt x="390" y="987"/>
                  <a:pt x="440" y="1007"/>
                  <a:pt x="484" y="989"/>
                </a:cubicBezTo>
                <a:cubicBezTo>
                  <a:pt x="528" y="970"/>
                  <a:pt x="549" y="921"/>
                  <a:pt x="530" y="876"/>
                </a:cubicBezTo>
                <a:cubicBezTo>
                  <a:pt x="512" y="833"/>
                  <a:pt x="462" y="811"/>
                  <a:pt x="417" y="830"/>
                </a:cubicBezTo>
                <a:cubicBezTo>
                  <a:pt x="412" y="832"/>
                  <a:pt x="405" y="836"/>
                  <a:pt x="400" y="840"/>
                </a:cubicBezTo>
                <a:cubicBezTo>
                  <a:pt x="348" y="795"/>
                  <a:pt x="348" y="795"/>
                  <a:pt x="348" y="795"/>
                </a:cubicBezTo>
                <a:cubicBezTo>
                  <a:pt x="379" y="764"/>
                  <a:pt x="396" y="720"/>
                  <a:pt x="396" y="675"/>
                </a:cubicBezTo>
                <a:cubicBezTo>
                  <a:pt x="565" y="659"/>
                  <a:pt x="565" y="659"/>
                  <a:pt x="565" y="659"/>
                </a:cubicBezTo>
                <a:cubicBezTo>
                  <a:pt x="567" y="673"/>
                  <a:pt x="571" y="687"/>
                  <a:pt x="577" y="701"/>
                </a:cubicBezTo>
                <a:cubicBezTo>
                  <a:pt x="604" y="765"/>
                  <a:pt x="666" y="803"/>
                  <a:pt x="732" y="803"/>
                </a:cubicBezTo>
                <a:cubicBezTo>
                  <a:pt x="746" y="984"/>
                  <a:pt x="746" y="984"/>
                  <a:pt x="746" y="984"/>
                </a:cubicBezTo>
                <a:cubicBezTo>
                  <a:pt x="742" y="984"/>
                  <a:pt x="739" y="985"/>
                  <a:pt x="737" y="986"/>
                </a:cubicBezTo>
                <a:cubicBezTo>
                  <a:pt x="713" y="996"/>
                  <a:pt x="702" y="1023"/>
                  <a:pt x="712" y="1047"/>
                </a:cubicBezTo>
                <a:cubicBezTo>
                  <a:pt x="721" y="1069"/>
                  <a:pt x="749" y="1081"/>
                  <a:pt x="772" y="1071"/>
                </a:cubicBezTo>
                <a:cubicBezTo>
                  <a:pt x="796" y="1061"/>
                  <a:pt x="807" y="1034"/>
                  <a:pt x="797" y="1011"/>
                </a:cubicBezTo>
                <a:cubicBezTo>
                  <a:pt x="791" y="996"/>
                  <a:pt x="778" y="986"/>
                  <a:pt x="762" y="983"/>
                </a:cubicBezTo>
                <a:cubicBezTo>
                  <a:pt x="748" y="802"/>
                  <a:pt x="748" y="802"/>
                  <a:pt x="748" y="802"/>
                </a:cubicBezTo>
                <a:cubicBezTo>
                  <a:pt x="764" y="800"/>
                  <a:pt x="780" y="797"/>
                  <a:pt x="796" y="790"/>
                </a:cubicBezTo>
                <a:cubicBezTo>
                  <a:pt x="844" y="770"/>
                  <a:pt x="877" y="730"/>
                  <a:pt x="891" y="684"/>
                </a:cubicBezTo>
                <a:cubicBezTo>
                  <a:pt x="1099" y="687"/>
                  <a:pt x="1099" y="687"/>
                  <a:pt x="1099" y="687"/>
                </a:cubicBezTo>
                <a:cubicBezTo>
                  <a:pt x="1100" y="694"/>
                  <a:pt x="1102" y="701"/>
                  <a:pt x="1104" y="706"/>
                </a:cubicBezTo>
                <a:cubicBezTo>
                  <a:pt x="1123" y="751"/>
                  <a:pt x="1173" y="771"/>
                  <a:pt x="1217" y="752"/>
                </a:cubicBezTo>
                <a:cubicBezTo>
                  <a:pt x="1261" y="734"/>
                  <a:pt x="1282" y="684"/>
                  <a:pt x="1263" y="639"/>
                </a:cubicBezTo>
                <a:cubicBezTo>
                  <a:pt x="1245" y="596"/>
                  <a:pt x="1195" y="575"/>
                  <a:pt x="1150" y="593"/>
                </a:cubicBezTo>
                <a:cubicBezTo>
                  <a:pt x="1118" y="607"/>
                  <a:pt x="1099" y="638"/>
                  <a:pt x="1098" y="671"/>
                </a:cubicBezTo>
                <a:cubicBezTo>
                  <a:pt x="896" y="668"/>
                  <a:pt x="896" y="668"/>
                  <a:pt x="896" y="668"/>
                </a:cubicBezTo>
                <a:cubicBezTo>
                  <a:pt x="901" y="637"/>
                  <a:pt x="899" y="602"/>
                  <a:pt x="886" y="571"/>
                </a:cubicBezTo>
                <a:cubicBezTo>
                  <a:pt x="882" y="560"/>
                  <a:pt x="877" y="551"/>
                  <a:pt x="871" y="543"/>
                </a:cubicBezTo>
                <a:cubicBezTo>
                  <a:pt x="954" y="495"/>
                  <a:pt x="954" y="495"/>
                  <a:pt x="954" y="495"/>
                </a:cubicBezTo>
                <a:cubicBezTo>
                  <a:pt x="967" y="508"/>
                  <a:pt x="987" y="512"/>
                  <a:pt x="1004" y="505"/>
                </a:cubicBezTo>
                <a:cubicBezTo>
                  <a:pt x="1028" y="495"/>
                  <a:pt x="1038" y="467"/>
                  <a:pt x="1029" y="444"/>
                </a:cubicBezTo>
                <a:cubicBezTo>
                  <a:pt x="1024" y="434"/>
                  <a:pt x="1016" y="426"/>
                  <a:pt x="1008" y="421"/>
                </a:cubicBezTo>
                <a:cubicBezTo>
                  <a:pt x="1037" y="295"/>
                  <a:pt x="1037" y="295"/>
                  <a:pt x="1037" y="295"/>
                </a:cubicBezTo>
                <a:cubicBezTo>
                  <a:pt x="1060" y="297"/>
                  <a:pt x="1085" y="295"/>
                  <a:pt x="1108" y="285"/>
                </a:cubicBezTo>
                <a:cubicBezTo>
                  <a:pt x="1149" y="268"/>
                  <a:pt x="1179" y="232"/>
                  <a:pt x="1188" y="191"/>
                </a:cubicBezTo>
                <a:cubicBezTo>
                  <a:pt x="1347" y="224"/>
                  <a:pt x="1347" y="224"/>
                  <a:pt x="1347" y="224"/>
                </a:cubicBezTo>
                <a:cubicBezTo>
                  <a:pt x="1345" y="237"/>
                  <a:pt x="1347" y="251"/>
                  <a:pt x="1352" y="264"/>
                </a:cubicBezTo>
                <a:cubicBezTo>
                  <a:pt x="1371" y="308"/>
                  <a:pt x="1422" y="328"/>
                  <a:pt x="1465" y="310"/>
                </a:cubicBezTo>
                <a:cubicBezTo>
                  <a:pt x="1510" y="291"/>
                  <a:pt x="1530" y="241"/>
                  <a:pt x="1511" y="197"/>
                </a:cubicBezTo>
                <a:close/>
                <a:moveTo>
                  <a:pt x="40" y="569"/>
                </a:moveTo>
                <a:cubicBezTo>
                  <a:pt x="32" y="572"/>
                  <a:pt x="22" y="568"/>
                  <a:pt x="19" y="560"/>
                </a:cubicBezTo>
                <a:cubicBezTo>
                  <a:pt x="15" y="551"/>
                  <a:pt x="19" y="542"/>
                  <a:pt x="28" y="538"/>
                </a:cubicBezTo>
                <a:cubicBezTo>
                  <a:pt x="36" y="535"/>
                  <a:pt x="47" y="538"/>
                  <a:pt x="50" y="547"/>
                </a:cubicBezTo>
                <a:cubicBezTo>
                  <a:pt x="54" y="555"/>
                  <a:pt x="49" y="565"/>
                  <a:pt x="40" y="569"/>
                </a:cubicBezTo>
                <a:close/>
                <a:moveTo>
                  <a:pt x="217" y="400"/>
                </a:moveTo>
                <a:cubicBezTo>
                  <a:pt x="211" y="388"/>
                  <a:pt x="217" y="374"/>
                  <a:pt x="228" y="370"/>
                </a:cubicBezTo>
                <a:cubicBezTo>
                  <a:pt x="240" y="365"/>
                  <a:pt x="253" y="370"/>
                  <a:pt x="258" y="383"/>
                </a:cubicBezTo>
                <a:cubicBezTo>
                  <a:pt x="263" y="394"/>
                  <a:pt x="258" y="407"/>
                  <a:pt x="246" y="412"/>
                </a:cubicBezTo>
                <a:cubicBezTo>
                  <a:pt x="235" y="417"/>
                  <a:pt x="221" y="412"/>
                  <a:pt x="217" y="400"/>
                </a:cubicBezTo>
                <a:close/>
                <a:moveTo>
                  <a:pt x="271" y="765"/>
                </a:moveTo>
                <a:cubicBezTo>
                  <a:pt x="223" y="785"/>
                  <a:pt x="168" y="762"/>
                  <a:pt x="148" y="714"/>
                </a:cubicBezTo>
                <a:cubicBezTo>
                  <a:pt x="128" y="667"/>
                  <a:pt x="151" y="611"/>
                  <a:pt x="198" y="592"/>
                </a:cubicBezTo>
                <a:cubicBezTo>
                  <a:pt x="246" y="571"/>
                  <a:pt x="301" y="594"/>
                  <a:pt x="321" y="641"/>
                </a:cubicBezTo>
                <a:cubicBezTo>
                  <a:pt x="341" y="689"/>
                  <a:pt x="319" y="744"/>
                  <a:pt x="271" y="765"/>
                </a:cubicBezTo>
                <a:close/>
                <a:moveTo>
                  <a:pt x="434" y="870"/>
                </a:moveTo>
                <a:cubicBezTo>
                  <a:pt x="457" y="860"/>
                  <a:pt x="482" y="871"/>
                  <a:pt x="491" y="892"/>
                </a:cubicBezTo>
                <a:cubicBezTo>
                  <a:pt x="501" y="915"/>
                  <a:pt x="490" y="941"/>
                  <a:pt x="468" y="950"/>
                </a:cubicBezTo>
                <a:cubicBezTo>
                  <a:pt x="446" y="959"/>
                  <a:pt x="420" y="949"/>
                  <a:pt x="411" y="926"/>
                </a:cubicBezTo>
                <a:cubicBezTo>
                  <a:pt x="402" y="904"/>
                  <a:pt x="412" y="879"/>
                  <a:pt x="434" y="870"/>
                </a:cubicBezTo>
                <a:close/>
                <a:moveTo>
                  <a:pt x="775" y="1020"/>
                </a:moveTo>
                <a:cubicBezTo>
                  <a:pt x="780" y="1031"/>
                  <a:pt x="775" y="1045"/>
                  <a:pt x="763" y="1050"/>
                </a:cubicBezTo>
                <a:cubicBezTo>
                  <a:pt x="752" y="1054"/>
                  <a:pt x="738" y="1049"/>
                  <a:pt x="734" y="1038"/>
                </a:cubicBezTo>
                <a:cubicBezTo>
                  <a:pt x="729" y="1025"/>
                  <a:pt x="734" y="1012"/>
                  <a:pt x="745" y="1007"/>
                </a:cubicBezTo>
                <a:cubicBezTo>
                  <a:pt x="757" y="1002"/>
                  <a:pt x="770" y="1008"/>
                  <a:pt x="775" y="1020"/>
                </a:cubicBezTo>
                <a:close/>
                <a:moveTo>
                  <a:pt x="768" y="724"/>
                </a:moveTo>
                <a:cubicBezTo>
                  <a:pt x="718" y="745"/>
                  <a:pt x="660" y="721"/>
                  <a:pt x="639" y="671"/>
                </a:cubicBezTo>
                <a:cubicBezTo>
                  <a:pt x="618" y="621"/>
                  <a:pt x="641" y="563"/>
                  <a:pt x="691" y="542"/>
                </a:cubicBezTo>
                <a:cubicBezTo>
                  <a:pt x="742" y="521"/>
                  <a:pt x="799" y="545"/>
                  <a:pt x="820" y="595"/>
                </a:cubicBezTo>
                <a:cubicBezTo>
                  <a:pt x="841" y="645"/>
                  <a:pt x="818" y="703"/>
                  <a:pt x="768" y="724"/>
                </a:cubicBezTo>
                <a:close/>
                <a:moveTo>
                  <a:pt x="1167" y="633"/>
                </a:moveTo>
                <a:cubicBezTo>
                  <a:pt x="1190" y="624"/>
                  <a:pt x="1215" y="634"/>
                  <a:pt x="1224" y="656"/>
                </a:cubicBezTo>
                <a:cubicBezTo>
                  <a:pt x="1234" y="678"/>
                  <a:pt x="1223" y="704"/>
                  <a:pt x="1201" y="714"/>
                </a:cubicBezTo>
                <a:cubicBezTo>
                  <a:pt x="1179" y="723"/>
                  <a:pt x="1153" y="712"/>
                  <a:pt x="1144" y="690"/>
                </a:cubicBezTo>
                <a:cubicBezTo>
                  <a:pt x="1135" y="668"/>
                  <a:pt x="1145" y="642"/>
                  <a:pt x="1167" y="633"/>
                </a:cubicBezTo>
                <a:close/>
                <a:moveTo>
                  <a:pt x="995" y="483"/>
                </a:moveTo>
                <a:cubicBezTo>
                  <a:pt x="983" y="488"/>
                  <a:pt x="970" y="482"/>
                  <a:pt x="965" y="471"/>
                </a:cubicBezTo>
                <a:cubicBezTo>
                  <a:pt x="960" y="459"/>
                  <a:pt x="966" y="445"/>
                  <a:pt x="977" y="440"/>
                </a:cubicBezTo>
                <a:cubicBezTo>
                  <a:pt x="988" y="436"/>
                  <a:pt x="1002" y="441"/>
                  <a:pt x="1007" y="453"/>
                </a:cubicBezTo>
                <a:cubicBezTo>
                  <a:pt x="1012" y="465"/>
                  <a:pt x="1006" y="478"/>
                  <a:pt x="995" y="483"/>
                </a:cubicBezTo>
                <a:close/>
                <a:moveTo>
                  <a:pt x="1085" y="230"/>
                </a:moveTo>
                <a:cubicBezTo>
                  <a:pt x="1044" y="248"/>
                  <a:pt x="996" y="229"/>
                  <a:pt x="978" y="187"/>
                </a:cubicBezTo>
                <a:cubicBezTo>
                  <a:pt x="961" y="145"/>
                  <a:pt x="981" y="98"/>
                  <a:pt x="1022" y="81"/>
                </a:cubicBezTo>
                <a:cubicBezTo>
                  <a:pt x="1063" y="63"/>
                  <a:pt x="1110" y="83"/>
                  <a:pt x="1128" y="124"/>
                </a:cubicBezTo>
                <a:cubicBezTo>
                  <a:pt x="1145" y="166"/>
                  <a:pt x="1126" y="213"/>
                  <a:pt x="1085" y="230"/>
                </a:cubicBezTo>
                <a:close/>
                <a:moveTo>
                  <a:pt x="1449" y="271"/>
                </a:moveTo>
                <a:cubicBezTo>
                  <a:pt x="1427" y="280"/>
                  <a:pt x="1402" y="270"/>
                  <a:pt x="1392" y="247"/>
                </a:cubicBezTo>
                <a:cubicBezTo>
                  <a:pt x="1383" y="225"/>
                  <a:pt x="1393" y="200"/>
                  <a:pt x="1415" y="191"/>
                </a:cubicBezTo>
                <a:cubicBezTo>
                  <a:pt x="1438" y="181"/>
                  <a:pt x="1463" y="192"/>
                  <a:pt x="1472" y="213"/>
                </a:cubicBezTo>
                <a:cubicBezTo>
                  <a:pt x="1482" y="236"/>
                  <a:pt x="1471" y="262"/>
                  <a:pt x="1449" y="271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222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1" r:id="rId2"/>
    <p:sldLayoutId id="2147483709" r:id="rId3"/>
    <p:sldLayoutId id="2147483710" r:id="rId4"/>
    <p:sldLayoutId id="2147483681" r:id="rId5"/>
    <p:sldLayoutId id="2147483679" r:id="rId6"/>
    <p:sldLayoutId id="2147483680" r:id="rId7"/>
    <p:sldLayoutId id="2147483730" r:id="rId8"/>
    <p:sldLayoutId id="214748368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7" rtl="0" eaLnBrk="1" latinLnBrk="0" hangingPunct="1">
        <a:spcBef>
          <a:spcPct val="0"/>
        </a:spcBef>
        <a:buNone/>
        <a:defRPr lang="en-US" sz="3600" b="0" kern="1200" dirty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2967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1pPr>
      <a:lvl2pPr marL="807798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2pPr>
      <a:lvl3pPr marL="1080764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90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3pPr>
      <a:lvl4pPr marL="1436256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4pPr>
      <a:lvl5pPr marL="1793335" indent="-179335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5pPr>
      <a:lvl6pPr marL="2513847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0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7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8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-1525" y="0"/>
            <a:ext cx="12191938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6" rIns="91414" bIns="45706" rtlCol="0" anchor="ctr"/>
          <a:lstStyle/>
          <a:p>
            <a:pPr algn="ctr"/>
            <a:endParaRPr lang="de-DE"/>
          </a:p>
        </p:txBody>
      </p:sp>
      <p:sp>
        <p:nvSpPr>
          <p:cNvPr id="12" name="Freeform 7"/>
          <p:cNvSpPr>
            <a:spLocks noEditPoints="1"/>
          </p:cNvSpPr>
          <p:nvPr userDrawn="1"/>
        </p:nvSpPr>
        <p:spPr bwMode="auto">
          <a:xfrm rot="16756386">
            <a:off x="9541985" y="868880"/>
            <a:ext cx="3700399" cy="2613310"/>
          </a:xfrm>
          <a:custGeom>
            <a:avLst/>
            <a:gdLst>
              <a:gd name="T0" fmla="*/ 1349 w 1530"/>
              <a:gd name="T1" fmla="*/ 208 h 1081"/>
              <a:gd name="T2" fmla="*/ 1000 w 1530"/>
              <a:gd name="T3" fmla="*/ 30 h 1081"/>
              <a:gd name="T4" fmla="*/ 991 w 1530"/>
              <a:gd name="T5" fmla="*/ 416 h 1081"/>
              <a:gd name="T6" fmla="*/ 944 w 1530"/>
              <a:gd name="T7" fmla="*/ 482 h 1081"/>
              <a:gd name="T8" fmla="*/ 563 w 1530"/>
              <a:gd name="T9" fmla="*/ 643 h 1081"/>
              <a:gd name="T10" fmla="*/ 248 w 1530"/>
              <a:gd name="T11" fmla="*/ 520 h 1081"/>
              <a:gd name="T12" fmla="*/ 280 w 1530"/>
              <a:gd name="T13" fmla="*/ 374 h 1081"/>
              <a:gd name="T14" fmla="*/ 230 w 1530"/>
              <a:gd name="T15" fmla="*/ 437 h 1081"/>
              <a:gd name="T16" fmla="*/ 109 w 1530"/>
              <a:gd name="T17" fmla="*/ 582 h 1081"/>
              <a:gd name="T18" fmla="*/ 23 w 1530"/>
              <a:gd name="T19" fmla="*/ 526 h 1081"/>
              <a:gd name="T20" fmla="*/ 55 w 1530"/>
              <a:gd name="T21" fmla="*/ 575 h 1081"/>
              <a:gd name="T22" fmla="*/ 143 w 1530"/>
              <a:gd name="T23" fmla="*/ 811 h 1081"/>
              <a:gd name="T24" fmla="*/ 157 w 1530"/>
              <a:gd name="T25" fmla="*/ 820 h 1081"/>
              <a:gd name="T26" fmla="*/ 387 w 1530"/>
              <a:gd name="T27" fmla="*/ 851 h 1081"/>
              <a:gd name="T28" fmla="*/ 530 w 1530"/>
              <a:gd name="T29" fmla="*/ 876 h 1081"/>
              <a:gd name="T30" fmla="*/ 348 w 1530"/>
              <a:gd name="T31" fmla="*/ 795 h 1081"/>
              <a:gd name="T32" fmla="*/ 577 w 1530"/>
              <a:gd name="T33" fmla="*/ 701 h 1081"/>
              <a:gd name="T34" fmla="*/ 737 w 1530"/>
              <a:gd name="T35" fmla="*/ 986 h 1081"/>
              <a:gd name="T36" fmla="*/ 797 w 1530"/>
              <a:gd name="T37" fmla="*/ 1011 h 1081"/>
              <a:gd name="T38" fmla="*/ 796 w 1530"/>
              <a:gd name="T39" fmla="*/ 790 h 1081"/>
              <a:gd name="T40" fmla="*/ 1104 w 1530"/>
              <a:gd name="T41" fmla="*/ 706 h 1081"/>
              <a:gd name="T42" fmla="*/ 1150 w 1530"/>
              <a:gd name="T43" fmla="*/ 593 h 1081"/>
              <a:gd name="T44" fmla="*/ 886 w 1530"/>
              <a:gd name="T45" fmla="*/ 571 h 1081"/>
              <a:gd name="T46" fmla="*/ 1004 w 1530"/>
              <a:gd name="T47" fmla="*/ 505 h 1081"/>
              <a:gd name="T48" fmla="*/ 1037 w 1530"/>
              <a:gd name="T49" fmla="*/ 295 h 1081"/>
              <a:gd name="T50" fmla="*/ 1347 w 1530"/>
              <a:gd name="T51" fmla="*/ 224 h 1081"/>
              <a:gd name="T52" fmla="*/ 1511 w 1530"/>
              <a:gd name="T53" fmla="*/ 197 h 1081"/>
              <a:gd name="T54" fmla="*/ 28 w 1530"/>
              <a:gd name="T55" fmla="*/ 538 h 1081"/>
              <a:gd name="T56" fmla="*/ 217 w 1530"/>
              <a:gd name="T57" fmla="*/ 400 h 1081"/>
              <a:gd name="T58" fmla="*/ 246 w 1530"/>
              <a:gd name="T59" fmla="*/ 412 h 1081"/>
              <a:gd name="T60" fmla="*/ 148 w 1530"/>
              <a:gd name="T61" fmla="*/ 714 h 1081"/>
              <a:gd name="T62" fmla="*/ 271 w 1530"/>
              <a:gd name="T63" fmla="*/ 765 h 1081"/>
              <a:gd name="T64" fmla="*/ 468 w 1530"/>
              <a:gd name="T65" fmla="*/ 950 h 1081"/>
              <a:gd name="T66" fmla="*/ 775 w 1530"/>
              <a:gd name="T67" fmla="*/ 1020 h 1081"/>
              <a:gd name="T68" fmla="*/ 745 w 1530"/>
              <a:gd name="T69" fmla="*/ 1007 h 1081"/>
              <a:gd name="T70" fmla="*/ 639 w 1530"/>
              <a:gd name="T71" fmla="*/ 671 h 1081"/>
              <a:gd name="T72" fmla="*/ 768 w 1530"/>
              <a:gd name="T73" fmla="*/ 724 h 1081"/>
              <a:gd name="T74" fmla="*/ 1201 w 1530"/>
              <a:gd name="T75" fmla="*/ 714 h 1081"/>
              <a:gd name="T76" fmla="*/ 995 w 1530"/>
              <a:gd name="T77" fmla="*/ 483 h 1081"/>
              <a:gd name="T78" fmla="*/ 1007 w 1530"/>
              <a:gd name="T79" fmla="*/ 453 h 1081"/>
              <a:gd name="T80" fmla="*/ 978 w 1530"/>
              <a:gd name="T81" fmla="*/ 187 h 1081"/>
              <a:gd name="T82" fmla="*/ 1085 w 1530"/>
              <a:gd name="T83" fmla="*/ 230 h 1081"/>
              <a:gd name="T84" fmla="*/ 1415 w 1530"/>
              <a:gd name="T85" fmla="*/ 191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30" h="1081">
                <a:moveTo>
                  <a:pt x="1511" y="197"/>
                </a:moveTo>
                <a:cubicBezTo>
                  <a:pt x="1493" y="154"/>
                  <a:pt x="1443" y="132"/>
                  <a:pt x="1398" y="151"/>
                </a:cubicBezTo>
                <a:cubicBezTo>
                  <a:pt x="1373" y="162"/>
                  <a:pt x="1356" y="183"/>
                  <a:pt x="1349" y="208"/>
                </a:cubicBezTo>
                <a:cubicBezTo>
                  <a:pt x="1192" y="175"/>
                  <a:pt x="1192" y="175"/>
                  <a:pt x="1192" y="175"/>
                </a:cubicBezTo>
                <a:cubicBezTo>
                  <a:pt x="1195" y="152"/>
                  <a:pt x="1192" y="128"/>
                  <a:pt x="1182" y="104"/>
                </a:cubicBezTo>
                <a:cubicBezTo>
                  <a:pt x="1152" y="33"/>
                  <a:pt x="1071" y="0"/>
                  <a:pt x="1000" y="30"/>
                </a:cubicBezTo>
                <a:cubicBezTo>
                  <a:pt x="930" y="59"/>
                  <a:pt x="896" y="140"/>
                  <a:pt x="926" y="211"/>
                </a:cubicBezTo>
                <a:cubicBezTo>
                  <a:pt x="944" y="253"/>
                  <a:pt x="980" y="282"/>
                  <a:pt x="1022" y="292"/>
                </a:cubicBezTo>
                <a:cubicBezTo>
                  <a:pt x="991" y="416"/>
                  <a:pt x="991" y="416"/>
                  <a:pt x="991" y="416"/>
                </a:cubicBezTo>
                <a:cubicBezTo>
                  <a:pt x="984" y="415"/>
                  <a:pt x="976" y="416"/>
                  <a:pt x="968" y="420"/>
                </a:cubicBezTo>
                <a:cubicBezTo>
                  <a:pt x="944" y="429"/>
                  <a:pt x="933" y="456"/>
                  <a:pt x="943" y="480"/>
                </a:cubicBezTo>
                <a:cubicBezTo>
                  <a:pt x="944" y="481"/>
                  <a:pt x="944" y="481"/>
                  <a:pt x="944" y="482"/>
                </a:cubicBezTo>
                <a:cubicBezTo>
                  <a:pt x="861" y="529"/>
                  <a:pt x="861" y="529"/>
                  <a:pt x="861" y="529"/>
                </a:cubicBezTo>
                <a:cubicBezTo>
                  <a:pt x="815" y="474"/>
                  <a:pt x="736" y="451"/>
                  <a:pt x="666" y="481"/>
                </a:cubicBezTo>
                <a:cubicBezTo>
                  <a:pt x="599" y="509"/>
                  <a:pt x="560" y="574"/>
                  <a:pt x="563" y="643"/>
                </a:cubicBezTo>
                <a:cubicBezTo>
                  <a:pt x="394" y="659"/>
                  <a:pt x="394" y="659"/>
                  <a:pt x="394" y="659"/>
                </a:cubicBezTo>
                <a:cubicBezTo>
                  <a:pt x="392" y="646"/>
                  <a:pt x="388" y="632"/>
                  <a:pt x="383" y="619"/>
                </a:cubicBezTo>
                <a:cubicBezTo>
                  <a:pt x="359" y="561"/>
                  <a:pt x="306" y="525"/>
                  <a:pt x="248" y="520"/>
                </a:cubicBezTo>
                <a:cubicBezTo>
                  <a:pt x="246" y="437"/>
                  <a:pt x="246" y="437"/>
                  <a:pt x="246" y="437"/>
                </a:cubicBezTo>
                <a:cubicBezTo>
                  <a:pt x="249" y="435"/>
                  <a:pt x="252" y="435"/>
                  <a:pt x="255" y="434"/>
                </a:cubicBezTo>
                <a:cubicBezTo>
                  <a:pt x="279" y="424"/>
                  <a:pt x="290" y="396"/>
                  <a:pt x="280" y="374"/>
                </a:cubicBezTo>
                <a:cubicBezTo>
                  <a:pt x="270" y="350"/>
                  <a:pt x="243" y="339"/>
                  <a:pt x="220" y="349"/>
                </a:cubicBezTo>
                <a:cubicBezTo>
                  <a:pt x="196" y="359"/>
                  <a:pt x="185" y="386"/>
                  <a:pt x="195" y="409"/>
                </a:cubicBezTo>
                <a:cubicBezTo>
                  <a:pt x="201" y="424"/>
                  <a:pt x="215" y="434"/>
                  <a:pt x="230" y="437"/>
                </a:cubicBezTo>
                <a:cubicBezTo>
                  <a:pt x="232" y="521"/>
                  <a:pt x="232" y="521"/>
                  <a:pt x="232" y="521"/>
                </a:cubicBezTo>
                <a:cubicBezTo>
                  <a:pt x="212" y="521"/>
                  <a:pt x="192" y="525"/>
                  <a:pt x="173" y="533"/>
                </a:cubicBezTo>
                <a:cubicBezTo>
                  <a:pt x="148" y="544"/>
                  <a:pt x="126" y="561"/>
                  <a:pt x="109" y="582"/>
                </a:cubicBezTo>
                <a:cubicBezTo>
                  <a:pt x="63" y="561"/>
                  <a:pt x="63" y="561"/>
                  <a:pt x="63" y="561"/>
                </a:cubicBezTo>
                <a:cubicBezTo>
                  <a:pt x="64" y="554"/>
                  <a:pt x="64" y="548"/>
                  <a:pt x="61" y="542"/>
                </a:cubicBezTo>
                <a:cubicBezTo>
                  <a:pt x="55" y="527"/>
                  <a:pt x="38" y="520"/>
                  <a:pt x="23" y="526"/>
                </a:cubicBezTo>
                <a:cubicBezTo>
                  <a:pt x="7" y="533"/>
                  <a:pt x="0" y="550"/>
                  <a:pt x="7" y="565"/>
                </a:cubicBezTo>
                <a:cubicBezTo>
                  <a:pt x="13" y="580"/>
                  <a:pt x="30" y="587"/>
                  <a:pt x="46" y="581"/>
                </a:cubicBezTo>
                <a:cubicBezTo>
                  <a:pt x="49" y="579"/>
                  <a:pt x="52" y="577"/>
                  <a:pt x="55" y="575"/>
                </a:cubicBezTo>
                <a:cubicBezTo>
                  <a:pt x="99" y="595"/>
                  <a:pt x="99" y="595"/>
                  <a:pt x="99" y="595"/>
                </a:cubicBezTo>
                <a:cubicBezTo>
                  <a:pt x="73" y="638"/>
                  <a:pt x="67" y="692"/>
                  <a:pt x="88" y="742"/>
                </a:cubicBezTo>
                <a:cubicBezTo>
                  <a:pt x="100" y="771"/>
                  <a:pt x="120" y="795"/>
                  <a:pt x="143" y="811"/>
                </a:cubicBezTo>
                <a:cubicBezTo>
                  <a:pt x="54" y="940"/>
                  <a:pt x="17" y="993"/>
                  <a:pt x="2" y="1015"/>
                </a:cubicBezTo>
                <a:cubicBezTo>
                  <a:pt x="2" y="1043"/>
                  <a:pt x="2" y="1043"/>
                  <a:pt x="2" y="1043"/>
                </a:cubicBezTo>
                <a:cubicBezTo>
                  <a:pt x="157" y="820"/>
                  <a:pt x="157" y="820"/>
                  <a:pt x="157" y="820"/>
                </a:cubicBezTo>
                <a:cubicBezTo>
                  <a:pt x="199" y="843"/>
                  <a:pt x="250" y="848"/>
                  <a:pt x="297" y="828"/>
                </a:cubicBezTo>
                <a:cubicBezTo>
                  <a:pt x="312" y="822"/>
                  <a:pt x="325" y="814"/>
                  <a:pt x="336" y="805"/>
                </a:cubicBezTo>
                <a:cubicBezTo>
                  <a:pt x="387" y="851"/>
                  <a:pt x="387" y="851"/>
                  <a:pt x="387" y="851"/>
                </a:cubicBezTo>
                <a:cubicBezTo>
                  <a:pt x="365" y="875"/>
                  <a:pt x="358" y="911"/>
                  <a:pt x="371" y="943"/>
                </a:cubicBezTo>
                <a:cubicBezTo>
                  <a:pt x="390" y="987"/>
                  <a:pt x="440" y="1007"/>
                  <a:pt x="484" y="989"/>
                </a:cubicBezTo>
                <a:cubicBezTo>
                  <a:pt x="528" y="970"/>
                  <a:pt x="549" y="921"/>
                  <a:pt x="530" y="876"/>
                </a:cubicBezTo>
                <a:cubicBezTo>
                  <a:pt x="512" y="833"/>
                  <a:pt x="462" y="811"/>
                  <a:pt x="417" y="830"/>
                </a:cubicBezTo>
                <a:cubicBezTo>
                  <a:pt x="412" y="832"/>
                  <a:pt x="405" y="836"/>
                  <a:pt x="400" y="840"/>
                </a:cubicBezTo>
                <a:cubicBezTo>
                  <a:pt x="348" y="795"/>
                  <a:pt x="348" y="795"/>
                  <a:pt x="348" y="795"/>
                </a:cubicBezTo>
                <a:cubicBezTo>
                  <a:pt x="379" y="764"/>
                  <a:pt x="396" y="720"/>
                  <a:pt x="396" y="675"/>
                </a:cubicBezTo>
                <a:cubicBezTo>
                  <a:pt x="565" y="659"/>
                  <a:pt x="565" y="659"/>
                  <a:pt x="565" y="659"/>
                </a:cubicBezTo>
                <a:cubicBezTo>
                  <a:pt x="567" y="673"/>
                  <a:pt x="571" y="687"/>
                  <a:pt x="577" y="701"/>
                </a:cubicBezTo>
                <a:cubicBezTo>
                  <a:pt x="604" y="765"/>
                  <a:pt x="666" y="803"/>
                  <a:pt x="732" y="803"/>
                </a:cubicBezTo>
                <a:cubicBezTo>
                  <a:pt x="746" y="984"/>
                  <a:pt x="746" y="984"/>
                  <a:pt x="746" y="984"/>
                </a:cubicBezTo>
                <a:cubicBezTo>
                  <a:pt x="742" y="984"/>
                  <a:pt x="739" y="985"/>
                  <a:pt x="737" y="986"/>
                </a:cubicBezTo>
                <a:cubicBezTo>
                  <a:pt x="713" y="996"/>
                  <a:pt x="702" y="1023"/>
                  <a:pt x="712" y="1047"/>
                </a:cubicBezTo>
                <a:cubicBezTo>
                  <a:pt x="721" y="1069"/>
                  <a:pt x="749" y="1081"/>
                  <a:pt x="772" y="1071"/>
                </a:cubicBezTo>
                <a:cubicBezTo>
                  <a:pt x="796" y="1061"/>
                  <a:pt x="807" y="1034"/>
                  <a:pt x="797" y="1011"/>
                </a:cubicBezTo>
                <a:cubicBezTo>
                  <a:pt x="791" y="996"/>
                  <a:pt x="778" y="986"/>
                  <a:pt x="762" y="983"/>
                </a:cubicBezTo>
                <a:cubicBezTo>
                  <a:pt x="748" y="802"/>
                  <a:pt x="748" y="802"/>
                  <a:pt x="748" y="802"/>
                </a:cubicBezTo>
                <a:cubicBezTo>
                  <a:pt x="764" y="800"/>
                  <a:pt x="780" y="797"/>
                  <a:pt x="796" y="790"/>
                </a:cubicBezTo>
                <a:cubicBezTo>
                  <a:pt x="844" y="770"/>
                  <a:pt x="877" y="730"/>
                  <a:pt x="891" y="684"/>
                </a:cubicBezTo>
                <a:cubicBezTo>
                  <a:pt x="1099" y="687"/>
                  <a:pt x="1099" y="687"/>
                  <a:pt x="1099" y="687"/>
                </a:cubicBezTo>
                <a:cubicBezTo>
                  <a:pt x="1100" y="694"/>
                  <a:pt x="1102" y="701"/>
                  <a:pt x="1104" y="706"/>
                </a:cubicBezTo>
                <a:cubicBezTo>
                  <a:pt x="1123" y="751"/>
                  <a:pt x="1173" y="771"/>
                  <a:pt x="1217" y="752"/>
                </a:cubicBezTo>
                <a:cubicBezTo>
                  <a:pt x="1261" y="734"/>
                  <a:pt x="1282" y="684"/>
                  <a:pt x="1263" y="639"/>
                </a:cubicBezTo>
                <a:cubicBezTo>
                  <a:pt x="1245" y="596"/>
                  <a:pt x="1195" y="575"/>
                  <a:pt x="1150" y="593"/>
                </a:cubicBezTo>
                <a:cubicBezTo>
                  <a:pt x="1118" y="607"/>
                  <a:pt x="1099" y="638"/>
                  <a:pt x="1098" y="671"/>
                </a:cubicBezTo>
                <a:cubicBezTo>
                  <a:pt x="896" y="668"/>
                  <a:pt x="896" y="668"/>
                  <a:pt x="896" y="668"/>
                </a:cubicBezTo>
                <a:cubicBezTo>
                  <a:pt x="901" y="637"/>
                  <a:pt x="899" y="602"/>
                  <a:pt x="886" y="571"/>
                </a:cubicBezTo>
                <a:cubicBezTo>
                  <a:pt x="882" y="560"/>
                  <a:pt x="877" y="551"/>
                  <a:pt x="871" y="543"/>
                </a:cubicBezTo>
                <a:cubicBezTo>
                  <a:pt x="954" y="495"/>
                  <a:pt x="954" y="495"/>
                  <a:pt x="954" y="495"/>
                </a:cubicBezTo>
                <a:cubicBezTo>
                  <a:pt x="967" y="508"/>
                  <a:pt x="987" y="512"/>
                  <a:pt x="1004" y="505"/>
                </a:cubicBezTo>
                <a:cubicBezTo>
                  <a:pt x="1028" y="495"/>
                  <a:pt x="1038" y="467"/>
                  <a:pt x="1029" y="444"/>
                </a:cubicBezTo>
                <a:cubicBezTo>
                  <a:pt x="1024" y="434"/>
                  <a:pt x="1016" y="426"/>
                  <a:pt x="1008" y="421"/>
                </a:cubicBezTo>
                <a:cubicBezTo>
                  <a:pt x="1037" y="295"/>
                  <a:pt x="1037" y="295"/>
                  <a:pt x="1037" y="295"/>
                </a:cubicBezTo>
                <a:cubicBezTo>
                  <a:pt x="1060" y="297"/>
                  <a:pt x="1085" y="295"/>
                  <a:pt x="1108" y="285"/>
                </a:cubicBezTo>
                <a:cubicBezTo>
                  <a:pt x="1149" y="268"/>
                  <a:pt x="1179" y="232"/>
                  <a:pt x="1188" y="191"/>
                </a:cubicBezTo>
                <a:cubicBezTo>
                  <a:pt x="1347" y="224"/>
                  <a:pt x="1347" y="224"/>
                  <a:pt x="1347" y="224"/>
                </a:cubicBezTo>
                <a:cubicBezTo>
                  <a:pt x="1345" y="237"/>
                  <a:pt x="1347" y="251"/>
                  <a:pt x="1352" y="264"/>
                </a:cubicBezTo>
                <a:cubicBezTo>
                  <a:pt x="1371" y="308"/>
                  <a:pt x="1422" y="328"/>
                  <a:pt x="1465" y="310"/>
                </a:cubicBezTo>
                <a:cubicBezTo>
                  <a:pt x="1510" y="291"/>
                  <a:pt x="1530" y="241"/>
                  <a:pt x="1511" y="197"/>
                </a:cubicBezTo>
                <a:close/>
                <a:moveTo>
                  <a:pt x="40" y="569"/>
                </a:moveTo>
                <a:cubicBezTo>
                  <a:pt x="32" y="572"/>
                  <a:pt x="22" y="568"/>
                  <a:pt x="19" y="560"/>
                </a:cubicBezTo>
                <a:cubicBezTo>
                  <a:pt x="15" y="551"/>
                  <a:pt x="19" y="542"/>
                  <a:pt x="28" y="538"/>
                </a:cubicBezTo>
                <a:cubicBezTo>
                  <a:pt x="36" y="535"/>
                  <a:pt x="47" y="538"/>
                  <a:pt x="50" y="547"/>
                </a:cubicBezTo>
                <a:cubicBezTo>
                  <a:pt x="54" y="555"/>
                  <a:pt x="49" y="565"/>
                  <a:pt x="40" y="569"/>
                </a:cubicBezTo>
                <a:close/>
                <a:moveTo>
                  <a:pt x="217" y="400"/>
                </a:moveTo>
                <a:cubicBezTo>
                  <a:pt x="211" y="388"/>
                  <a:pt x="217" y="374"/>
                  <a:pt x="228" y="370"/>
                </a:cubicBezTo>
                <a:cubicBezTo>
                  <a:pt x="240" y="365"/>
                  <a:pt x="253" y="370"/>
                  <a:pt x="258" y="383"/>
                </a:cubicBezTo>
                <a:cubicBezTo>
                  <a:pt x="263" y="394"/>
                  <a:pt x="258" y="407"/>
                  <a:pt x="246" y="412"/>
                </a:cubicBezTo>
                <a:cubicBezTo>
                  <a:pt x="235" y="417"/>
                  <a:pt x="221" y="412"/>
                  <a:pt x="217" y="400"/>
                </a:cubicBezTo>
                <a:close/>
                <a:moveTo>
                  <a:pt x="271" y="765"/>
                </a:moveTo>
                <a:cubicBezTo>
                  <a:pt x="223" y="785"/>
                  <a:pt x="168" y="762"/>
                  <a:pt x="148" y="714"/>
                </a:cubicBezTo>
                <a:cubicBezTo>
                  <a:pt x="128" y="667"/>
                  <a:pt x="151" y="611"/>
                  <a:pt x="198" y="592"/>
                </a:cubicBezTo>
                <a:cubicBezTo>
                  <a:pt x="246" y="571"/>
                  <a:pt x="301" y="594"/>
                  <a:pt x="321" y="641"/>
                </a:cubicBezTo>
                <a:cubicBezTo>
                  <a:pt x="341" y="689"/>
                  <a:pt x="319" y="744"/>
                  <a:pt x="271" y="765"/>
                </a:cubicBezTo>
                <a:close/>
                <a:moveTo>
                  <a:pt x="434" y="870"/>
                </a:moveTo>
                <a:cubicBezTo>
                  <a:pt x="457" y="860"/>
                  <a:pt x="482" y="871"/>
                  <a:pt x="491" y="892"/>
                </a:cubicBezTo>
                <a:cubicBezTo>
                  <a:pt x="501" y="915"/>
                  <a:pt x="490" y="941"/>
                  <a:pt x="468" y="950"/>
                </a:cubicBezTo>
                <a:cubicBezTo>
                  <a:pt x="446" y="959"/>
                  <a:pt x="420" y="949"/>
                  <a:pt x="411" y="926"/>
                </a:cubicBezTo>
                <a:cubicBezTo>
                  <a:pt x="402" y="904"/>
                  <a:pt x="412" y="879"/>
                  <a:pt x="434" y="870"/>
                </a:cubicBezTo>
                <a:close/>
                <a:moveTo>
                  <a:pt x="775" y="1020"/>
                </a:moveTo>
                <a:cubicBezTo>
                  <a:pt x="780" y="1031"/>
                  <a:pt x="775" y="1045"/>
                  <a:pt x="763" y="1050"/>
                </a:cubicBezTo>
                <a:cubicBezTo>
                  <a:pt x="752" y="1054"/>
                  <a:pt x="738" y="1049"/>
                  <a:pt x="734" y="1038"/>
                </a:cubicBezTo>
                <a:cubicBezTo>
                  <a:pt x="729" y="1025"/>
                  <a:pt x="734" y="1012"/>
                  <a:pt x="745" y="1007"/>
                </a:cubicBezTo>
                <a:cubicBezTo>
                  <a:pt x="757" y="1002"/>
                  <a:pt x="770" y="1008"/>
                  <a:pt x="775" y="1020"/>
                </a:cubicBezTo>
                <a:close/>
                <a:moveTo>
                  <a:pt x="768" y="724"/>
                </a:moveTo>
                <a:cubicBezTo>
                  <a:pt x="718" y="745"/>
                  <a:pt x="660" y="721"/>
                  <a:pt x="639" y="671"/>
                </a:cubicBezTo>
                <a:cubicBezTo>
                  <a:pt x="618" y="621"/>
                  <a:pt x="641" y="563"/>
                  <a:pt x="691" y="542"/>
                </a:cubicBezTo>
                <a:cubicBezTo>
                  <a:pt x="742" y="521"/>
                  <a:pt x="799" y="545"/>
                  <a:pt x="820" y="595"/>
                </a:cubicBezTo>
                <a:cubicBezTo>
                  <a:pt x="841" y="645"/>
                  <a:pt x="818" y="703"/>
                  <a:pt x="768" y="724"/>
                </a:cubicBezTo>
                <a:close/>
                <a:moveTo>
                  <a:pt x="1167" y="633"/>
                </a:moveTo>
                <a:cubicBezTo>
                  <a:pt x="1190" y="624"/>
                  <a:pt x="1215" y="634"/>
                  <a:pt x="1224" y="656"/>
                </a:cubicBezTo>
                <a:cubicBezTo>
                  <a:pt x="1234" y="678"/>
                  <a:pt x="1223" y="704"/>
                  <a:pt x="1201" y="714"/>
                </a:cubicBezTo>
                <a:cubicBezTo>
                  <a:pt x="1179" y="723"/>
                  <a:pt x="1153" y="712"/>
                  <a:pt x="1144" y="690"/>
                </a:cubicBezTo>
                <a:cubicBezTo>
                  <a:pt x="1135" y="668"/>
                  <a:pt x="1145" y="642"/>
                  <a:pt x="1167" y="633"/>
                </a:cubicBezTo>
                <a:close/>
                <a:moveTo>
                  <a:pt x="995" y="483"/>
                </a:moveTo>
                <a:cubicBezTo>
                  <a:pt x="983" y="488"/>
                  <a:pt x="970" y="482"/>
                  <a:pt x="965" y="471"/>
                </a:cubicBezTo>
                <a:cubicBezTo>
                  <a:pt x="960" y="459"/>
                  <a:pt x="966" y="445"/>
                  <a:pt x="977" y="440"/>
                </a:cubicBezTo>
                <a:cubicBezTo>
                  <a:pt x="988" y="436"/>
                  <a:pt x="1002" y="441"/>
                  <a:pt x="1007" y="453"/>
                </a:cubicBezTo>
                <a:cubicBezTo>
                  <a:pt x="1012" y="465"/>
                  <a:pt x="1006" y="478"/>
                  <a:pt x="995" y="483"/>
                </a:cubicBezTo>
                <a:close/>
                <a:moveTo>
                  <a:pt x="1085" y="230"/>
                </a:moveTo>
                <a:cubicBezTo>
                  <a:pt x="1044" y="248"/>
                  <a:pt x="996" y="229"/>
                  <a:pt x="978" y="187"/>
                </a:cubicBezTo>
                <a:cubicBezTo>
                  <a:pt x="961" y="145"/>
                  <a:pt x="981" y="98"/>
                  <a:pt x="1022" y="81"/>
                </a:cubicBezTo>
                <a:cubicBezTo>
                  <a:pt x="1063" y="63"/>
                  <a:pt x="1110" y="83"/>
                  <a:pt x="1128" y="124"/>
                </a:cubicBezTo>
                <a:cubicBezTo>
                  <a:pt x="1145" y="166"/>
                  <a:pt x="1126" y="213"/>
                  <a:pt x="1085" y="230"/>
                </a:cubicBezTo>
                <a:close/>
                <a:moveTo>
                  <a:pt x="1449" y="271"/>
                </a:moveTo>
                <a:cubicBezTo>
                  <a:pt x="1427" y="280"/>
                  <a:pt x="1402" y="270"/>
                  <a:pt x="1392" y="247"/>
                </a:cubicBezTo>
                <a:cubicBezTo>
                  <a:pt x="1383" y="225"/>
                  <a:pt x="1393" y="200"/>
                  <a:pt x="1415" y="191"/>
                </a:cubicBezTo>
                <a:cubicBezTo>
                  <a:pt x="1438" y="181"/>
                  <a:pt x="1463" y="192"/>
                  <a:pt x="1472" y="213"/>
                </a:cubicBezTo>
                <a:cubicBezTo>
                  <a:pt x="1482" y="236"/>
                  <a:pt x="1471" y="262"/>
                  <a:pt x="1449" y="271"/>
                </a:cubicBezTo>
                <a:close/>
              </a:path>
            </a:pathLst>
          </a:custGeom>
          <a:solidFill>
            <a:srgbClr val="FFFFFF">
              <a:alpha val="20000"/>
            </a:srgbClr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16255" y="410829"/>
            <a:ext cx="11134410" cy="107312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16255" y="1483952"/>
            <a:ext cx="11134410" cy="4321536"/>
          </a:xfrm>
          <a:prstGeom prst="rect">
            <a:avLst/>
          </a:prstGeom>
        </p:spPr>
        <p:txBody>
          <a:bodyPr vert="horz" lIns="10798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tx1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287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7" rtl="0" eaLnBrk="1" latinLnBrk="0" hangingPunct="1">
        <a:spcBef>
          <a:spcPct val="0"/>
        </a:spcBef>
        <a:buNone/>
        <a:defRPr lang="en-US" sz="36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967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7798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0764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9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256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335" indent="-179335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3847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0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7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8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516255" y="410829"/>
            <a:ext cx="11134410" cy="107312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516255" y="1483952"/>
            <a:ext cx="11134410" cy="4321536"/>
          </a:xfrm>
          <a:prstGeom prst="rect">
            <a:avLst/>
          </a:prstGeom>
        </p:spPr>
        <p:txBody>
          <a:bodyPr vert="horz" lIns="10798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3957284" y="6076361"/>
            <a:ext cx="4275850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lnSpc>
                <a:spcPct val="90000"/>
              </a:lnSpc>
              <a:spcAft>
                <a:spcPts val="1000"/>
              </a:spcAft>
              <a:defRPr sz="120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/>
              <a:t>Enter your footer text her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516253" y="6076361"/>
            <a:ext cx="914308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0000"/>
              </a:lnSpc>
              <a:spcAft>
                <a:spcPts val="1000"/>
              </a:spcAft>
              <a:defRPr sz="15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reeform 7"/>
          <p:cNvSpPr>
            <a:spLocks noEditPoints="1"/>
          </p:cNvSpPr>
          <p:nvPr userDrawn="1"/>
        </p:nvSpPr>
        <p:spPr bwMode="auto">
          <a:xfrm rot="16756386">
            <a:off x="9541985" y="868880"/>
            <a:ext cx="3700399" cy="2613310"/>
          </a:xfrm>
          <a:custGeom>
            <a:avLst/>
            <a:gdLst>
              <a:gd name="T0" fmla="*/ 1349 w 1530"/>
              <a:gd name="T1" fmla="*/ 208 h 1081"/>
              <a:gd name="T2" fmla="*/ 1000 w 1530"/>
              <a:gd name="T3" fmla="*/ 30 h 1081"/>
              <a:gd name="T4" fmla="*/ 991 w 1530"/>
              <a:gd name="T5" fmla="*/ 416 h 1081"/>
              <a:gd name="T6" fmla="*/ 944 w 1530"/>
              <a:gd name="T7" fmla="*/ 482 h 1081"/>
              <a:gd name="T8" fmla="*/ 563 w 1530"/>
              <a:gd name="T9" fmla="*/ 643 h 1081"/>
              <a:gd name="T10" fmla="*/ 248 w 1530"/>
              <a:gd name="T11" fmla="*/ 520 h 1081"/>
              <a:gd name="T12" fmla="*/ 280 w 1530"/>
              <a:gd name="T13" fmla="*/ 374 h 1081"/>
              <a:gd name="T14" fmla="*/ 230 w 1530"/>
              <a:gd name="T15" fmla="*/ 437 h 1081"/>
              <a:gd name="T16" fmla="*/ 109 w 1530"/>
              <a:gd name="T17" fmla="*/ 582 h 1081"/>
              <a:gd name="T18" fmla="*/ 23 w 1530"/>
              <a:gd name="T19" fmla="*/ 526 h 1081"/>
              <a:gd name="T20" fmla="*/ 55 w 1530"/>
              <a:gd name="T21" fmla="*/ 575 h 1081"/>
              <a:gd name="T22" fmla="*/ 143 w 1530"/>
              <a:gd name="T23" fmla="*/ 811 h 1081"/>
              <a:gd name="T24" fmla="*/ 157 w 1530"/>
              <a:gd name="T25" fmla="*/ 820 h 1081"/>
              <a:gd name="T26" fmla="*/ 387 w 1530"/>
              <a:gd name="T27" fmla="*/ 851 h 1081"/>
              <a:gd name="T28" fmla="*/ 530 w 1530"/>
              <a:gd name="T29" fmla="*/ 876 h 1081"/>
              <a:gd name="T30" fmla="*/ 348 w 1530"/>
              <a:gd name="T31" fmla="*/ 795 h 1081"/>
              <a:gd name="T32" fmla="*/ 577 w 1530"/>
              <a:gd name="T33" fmla="*/ 701 h 1081"/>
              <a:gd name="T34" fmla="*/ 737 w 1530"/>
              <a:gd name="T35" fmla="*/ 986 h 1081"/>
              <a:gd name="T36" fmla="*/ 797 w 1530"/>
              <a:gd name="T37" fmla="*/ 1011 h 1081"/>
              <a:gd name="T38" fmla="*/ 796 w 1530"/>
              <a:gd name="T39" fmla="*/ 790 h 1081"/>
              <a:gd name="T40" fmla="*/ 1104 w 1530"/>
              <a:gd name="T41" fmla="*/ 706 h 1081"/>
              <a:gd name="T42" fmla="*/ 1150 w 1530"/>
              <a:gd name="T43" fmla="*/ 593 h 1081"/>
              <a:gd name="T44" fmla="*/ 886 w 1530"/>
              <a:gd name="T45" fmla="*/ 571 h 1081"/>
              <a:gd name="T46" fmla="*/ 1004 w 1530"/>
              <a:gd name="T47" fmla="*/ 505 h 1081"/>
              <a:gd name="T48" fmla="*/ 1037 w 1530"/>
              <a:gd name="T49" fmla="*/ 295 h 1081"/>
              <a:gd name="T50" fmla="*/ 1347 w 1530"/>
              <a:gd name="T51" fmla="*/ 224 h 1081"/>
              <a:gd name="T52" fmla="*/ 1511 w 1530"/>
              <a:gd name="T53" fmla="*/ 197 h 1081"/>
              <a:gd name="T54" fmla="*/ 28 w 1530"/>
              <a:gd name="T55" fmla="*/ 538 h 1081"/>
              <a:gd name="T56" fmla="*/ 217 w 1530"/>
              <a:gd name="T57" fmla="*/ 400 h 1081"/>
              <a:gd name="T58" fmla="*/ 246 w 1530"/>
              <a:gd name="T59" fmla="*/ 412 h 1081"/>
              <a:gd name="T60" fmla="*/ 148 w 1530"/>
              <a:gd name="T61" fmla="*/ 714 h 1081"/>
              <a:gd name="T62" fmla="*/ 271 w 1530"/>
              <a:gd name="T63" fmla="*/ 765 h 1081"/>
              <a:gd name="T64" fmla="*/ 468 w 1530"/>
              <a:gd name="T65" fmla="*/ 950 h 1081"/>
              <a:gd name="T66" fmla="*/ 775 w 1530"/>
              <a:gd name="T67" fmla="*/ 1020 h 1081"/>
              <a:gd name="T68" fmla="*/ 745 w 1530"/>
              <a:gd name="T69" fmla="*/ 1007 h 1081"/>
              <a:gd name="T70" fmla="*/ 639 w 1530"/>
              <a:gd name="T71" fmla="*/ 671 h 1081"/>
              <a:gd name="T72" fmla="*/ 768 w 1530"/>
              <a:gd name="T73" fmla="*/ 724 h 1081"/>
              <a:gd name="T74" fmla="*/ 1201 w 1530"/>
              <a:gd name="T75" fmla="*/ 714 h 1081"/>
              <a:gd name="T76" fmla="*/ 995 w 1530"/>
              <a:gd name="T77" fmla="*/ 483 h 1081"/>
              <a:gd name="T78" fmla="*/ 1007 w 1530"/>
              <a:gd name="T79" fmla="*/ 453 h 1081"/>
              <a:gd name="T80" fmla="*/ 978 w 1530"/>
              <a:gd name="T81" fmla="*/ 187 h 1081"/>
              <a:gd name="T82" fmla="*/ 1085 w 1530"/>
              <a:gd name="T83" fmla="*/ 230 h 1081"/>
              <a:gd name="T84" fmla="*/ 1415 w 1530"/>
              <a:gd name="T85" fmla="*/ 191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30" h="1081">
                <a:moveTo>
                  <a:pt x="1511" y="197"/>
                </a:moveTo>
                <a:cubicBezTo>
                  <a:pt x="1493" y="154"/>
                  <a:pt x="1443" y="132"/>
                  <a:pt x="1398" y="151"/>
                </a:cubicBezTo>
                <a:cubicBezTo>
                  <a:pt x="1373" y="162"/>
                  <a:pt x="1356" y="183"/>
                  <a:pt x="1349" y="208"/>
                </a:cubicBezTo>
                <a:cubicBezTo>
                  <a:pt x="1192" y="175"/>
                  <a:pt x="1192" y="175"/>
                  <a:pt x="1192" y="175"/>
                </a:cubicBezTo>
                <a:cubicBezTo>
                  <a:pt x="1195" y="152"/>
                  <a:pt x="1192" y="128"/>
                  <a:pt x="1182" y="104"/>
                </a:cubicBezTo>
                <a:cubicBezTo>
                  <a:pt x="1152" y="33"/>
                  <a:pt x="1071" y="0"/>
                  <a:pt x="1000" y="30"/>
                </a:cubicBezTo>
                <a:cubicBezTo>
                  <a:pt x="930" y="59"/>
                  <a:pt x="896" y="140"/>
                  <a:pt x="926" y="211"/>
                </a:cubicBezTo>
                <a:cubicBezTo>
                  <a:pt x="944" y="253"/>
                  <a:pt x="980" y="282"/>
                  <a:pt x="1022" y="292"/>
                </a:cubicBezTo>
                <a:cubicBezTo>
                  <a:pt x="991" y="416"/>
                  <a:pt x="991" y="416"/>
                  <a:pt x="991" y="416"/>
                </a:cubicBezTo>
                <a:cubicBezTo>
                  <a:pt x="984" y="415"/>
                  <a:pt x="976" y="416"/>
                  <a:pt x="968" y="420"/>
                </a:cubicBezTo>
                <a:cubicBezTo>
                  <a:pt x="944" y="429"/>
                  <a:pt x="933" y="456"/>
                  <a:pt x="943" y="480"/>
                </a:cubicBezTo>
                <a:cubicBezTo>
                  <a:pt x="944" y="481"/>
                  <a:pt x="944" y="481"/>
                  <a:pt x="944" y="482"/>
                </a:cubicBezTo>
                <a:cubicBezTo>
                  <a:pt x="861" y="529"/>
                  <a:pt x="861" y="529"/>
                  <a:pt x="861" y="529"/>
                </a:cubicBezTo>
                <a:cubicBezTo>
                  <a:pt x="815" y="474"/>
                  <a:pt x="736" y="451"/>
                  <a:pt x="666" y="481"/>
                </a:cubicBezTo>
                <a:cubicBezTo>
                  <a:pt x="599" y="509"/>
                  <a:pt x="560" y="574"/>
                  <a:pt x="563" y="643"/>
                </a:cubicBezTo>
                <a:cubicBezTo>
                  <a:pt x="394" y="659"/>
                  <a:pt x="394" y="659"/>
                  <a:pt x="394" y="659"/>
                </a:cubicBezTo>
                <a:cubicBezTo>
                  <a:pt x="392" y="646"/>
                  <a:pt x="388" y="632"/>
                  <a:pt x="383" y="619"/>
                </a:cubicBezTo>
                <a:cubicBezTo>
                  <a:pt x="359" y="561"/>
                  <a:pt x="306" y="525"/>
                  <a:pt x="248" y="520"/>
                </a:cubicBezTo>
                <a:cubicBezTo>
                  <a:pt x="246" y="437"/>
                  <a:pt x="246" y="437"/>
                  <a:pt x="246" y="437"/>
                </a:cubicBezTo>
                <a:cubicBezTo>
                  <a:pt x="249" y="435"/>
                  <a:pt x="252" y="435"/>
                  <a:pt x="255" y="434"/>
                </a:cubicBezTo>
                <a:cubicBezTo>
                  <a:pt x="279" y="424"/>
                  <a:pt x="290" y="396"/>
                  <a:pt x="280" y="374"/>
                </a:cubicBezTo>
                <a:cubicBezTo>
                  <a:pt x="270" y="350"/>
                  <a:pt x="243" y="339"/>
                  <a:pt x="220" y="349"/>
                </a:cubicBezTo>
                <a:cubicBezTo>
                  <a:pt x="196" y="359"/>
                  <a:pt x="185" y="386"/>
                  <a:pt x="195" y="409"/>
                </a:cubicBezTo>
                <a:cubicBezTo>
                  <a:pt x="201" y="424"/>
                  <a:pt x="215" y="434"/>
                  <a:pt x="230" y="437"/>
                </a:cubicBezTo>
                <a:cubicBezTo>
                  <a:pt x="232" y="521"/>
                  <a:pt x="232" y="521"/>
                  <a:pt x="232" y="521"/>
                </a:cubicBezTo>
                <a:cubicBezTo>
                  <a:pt x="212" y="521"/>
                  <a:pt x="192" y="525"/>
                  <a:pt x="173" y="533"/>
                </a:cubicBezTo>
                <a:cubicBezTo>
                  <a:pt x="148" y="544"/>
                  <a:pt x="126" y="561"/>
                  <a:pt x="109" y="582"/>
                </a:cubicBezTo>
                <a:cubicBezTo>
                  <a:pt x="63" y="561"/>
                  <a:pt x="63" y="561"/>
                  <a:pt x="63" y="561"/>
                </a:cubicBezTo>
                <a:cubicBezTo>
                  <a:pt x="64" y="554"/>
                  <a:pt x="64" y="548"/>
                  <a:pt x="61" y="542"/>
                </a:cubicBezTo>
                <a:cubicBezTo>
                  <a:pt x="55" y="527"/>
                  <a:pt x="38" y="520"/>
                  <a:pt x="23" y="526"/>
                </a:cubicBezTo>
                <a:cubicBezTo>
                  <a:pt x="7" y="533"/>
                  <a:pt x="0" y="550"/>
                  <a:pt x="7" y="565"/>
                </a:cubicBezTo>
                <a:cubicBezTo>
                  <a:pt x="13" y="580"/>
                  <a:pt x="30" y="587"/>
                  <a:pt x="46" y="581"/>
                </a:cubicBezTo>
                <a:cubicBezTo>
                  <a:pt x="49" y="579"/>
                  <a:pt x="52" y="577"/>
                  <a:pt x="55" y="575"/>
                </a:cubicBezTo>
                <a:cubicBezTo>
                  <a:pt x="99" y="595"/>
                  <a:pt x="99" y="595"/>
                  <a:pt x="99" y="595"/>
                </a:cubicBezTo>
                <a:cubicBezTo>
                  <a:pt x="73" y="638"/>
                  <a:pt x="67" y="692"/>
                  <a:pt x="88" y="742"/>
                </a:cubicBezTo>
                <a:cubicBezTo>
                  <a:pt x="100" y="771"/>
                  <a:pt x="120" y="795"/>
                  <a:pt x="143" y="811"/>
                </a:cubicBezTo>
                <a:cubicBezTo>
                  <a:pt x="54" y="940"/>
                  <a:pt x="17" y="993"/>
                  <a:pt x="2" y="1015"/>
                </a:cubicBezTo>
                <a:cubicBezTo>
                  <a:pt x="2" y="1043"/>
                  <a:pt x="2" y="1043"/>
                  <a:pt x="2" y="1043"/>
                </a:cubicBezTo>
                <a:cubicBezTo>
                  <a:pt x="157" y="820"/>
                  <a:pt x="157" y="820"/>
                  <a:pt x="157" y="820"/>
                </a:cubicBezTo>
                <a:cubicBezTo>
                  <a:pt x="199" y="843"/>
                  <a:pt x="250" y="848"/>
                  <a:pt x="297" y="828"/>
                </a:cubicBezTo>
                <a:cubicBezTo>
                  <a:pt x="312" y="822"/>
                  <a:pt x="325" y="814"/>
                  <a:pt x="336" y="805"/>
                </a:cubicBezTo>
                <a:cubicBezTo>
                  <a:pt x="387" y="851"/>
                  <a:pt x="387" y="851"/>
                  <a:pt x="387" y="851"/>
                </a:cubicBezTo>
                <a:cubicBezTo>
                  <a:pt x="365" y="875"/>
                  <a:pt x="358" y="911"/>
                  <a:pt x="371" y="943"/>
                </a:cubicBezTo>
                <a:cubicBezTo>
                  <a:pt x="390" y="987"/>
                  <a:pt x="440" y="1007"/>
                  <a:pt x="484" y="989"/>
                </a:cubicBezTo>
                <a:cubicBezTo>
                  <a:pt x="528" y="970"/>
                  <a:pt x="549" y="921"/>
                  <a:pt x="530" y="876"/>
                </a:cubicBezTo>
                <a:cubicBezTo>
                  <a:pt x="512" y="833"/>
                  <a:pt x="462" y="811"/>
                  <a:pt x="417" y="830"/>
                </a:cubicBezTo>
                <a:cubicBezTo>
                  <a:pt x="412" y="832"/>
                  <a:pt x="405" y="836"/>
                  <a:pt x="400" y="840"/>
                </a:cubicBezTo>
                <a:cubicBezTo>
                  <a:pt x="348" y="795"/>
                  <a:pt x="348" y="795"/>
                  <a:pt x="348" y="795"/>
                </a:cubicBezTo>
                <a:cubicBezTo>
                  <a:pt x="379" y="764"/>
                  <a:pt x="396" y="720"/>
                  <a:pt x="396" y="675"/>
                </a:cubicBezTo>
                <a:cubicBezTo>
                  <a:pt x="565" y="659"/>
                  <a:pt x="565" y="659"/>
                  <a:pt x="565" y="659"/>
                </a:cubicBezTo>
                <a:cubicBezTo>
                  <a:pt x="567" y="673"/>
                  <a:pt x="571" y="687"/>
                  <a:pt x="577" y="701"/>
                </a:cubicBezTo>
                <a:cubicBezTo>
                  <a:pt x="604" y="765"/>
                  <a:pt x="666" y="803"/>
                  <a:pt x="732" y="803"/>
                </a:cubicBezTo>
                <a:cubicBezTo>
                  <a:pt x="746" y="984"/>
                  <a:pt x="746" y="984"/>
                  <a:pt x="746" y="984"/>
                </a:cubicBezTo>
                <a:cubicBezTo>
                  <a:pt x="742" y="984"/>
                  <a:pt x="739" y="985"/>
                  <a:pt x="737" y="986"/>
                </a:cubicBezTo>
                <a:cubicBezTo>
                  <a:pt x="713" y="996"/>
                  <a:pt x="702" y="1023"/>
                  <a:pt x="712" y="1047"/>
                </a:cubicBezTo>
                <a:cubicBezTo>
                  <a:pt x="721" y="1069"/>
                  <a:pt x="749" y="1081"/>
                  <a:pt x="772" y="1071"/>
                </a:cubicBezTo>
                <a:cubicBezTo>
                  <a:pt x="796" y="1061"/>
                  <a:pt x="807" y="1034"/>
                  <a:pt x="797" y="1011"/>
                </a:cubicBezTo>
                <a:cubicBezTo>
                  <a:pt x="791" y="996"/>
                  <a:pt x="778" y="986"/>
                  <a:pt x="762" y="983"/>
                </a:cubicBezTo>
                <a:cubicBezTo>
                  <a:pt x="748" y="802"/>
                  <a:pt x="748" y="802"/>
                  <a:pt x="748" y="802"/>
                </a:cubicBezTo>
                <a:cubicBezTo>
                  <a:pt x="764" y="800"/>
                  <a:pt x="780" y="797"/>
                  <a:pt x="796" y="790"/>
                </a:cubicBezTo>
                <a:cubicBezTo>
                  <a:pt x="844" y="770"/>
                  <a:pt x="877" y="730"/>
                  <a:pt x="891" y="684"/>
                </a:cubicBezTo>
                <a:cubicBezTo>
                  <a:pt x="1099" y="687"/>
                  <a:pt x="1099" y="687"/>
                  <a:pt x="1099" y="687"/>
                </a:cubicBezTo>
                <a:cubicBezTo>
                  <a:pt x="1100" y="694"/>
                  <a:pt x="1102" y="701"/>
                  <a:pt x="1104" y="706"/>
                </a:cubicBezTo>
                <a:cubicBezTo>
                  <a:pt x="1123" y="751"/>
                  <a:pt x="1173" y="771"/>
                  <a:pt x="1217" y="752"/>
                </a:cubicBezTo>
                <a:cubicBezTo>
                  <a:pt x="1261" y="734"/>
                  <a:pt x="1282" y="684"/>
                  <a:pt x="1263" y="639"/>
                </a:cubicBezTo>
                <a:cubicBezTo>
                  <a:pt x="1245" y="596"/>
                  <a:pt x="1195" y="575"/>
                  <a:pt x="1150" y="593"/>
                </a:cubicBezTo>
                <a:cubicBezTo>
                  <a:pt x="1118" y="607"/>
                  <a:pt x="1099" y="638"/>
                  <a:pt x="1098" y="671"/>
                </a:cubicBezTo>
                <a:cubicBezTo>
                  <a:pt x="896" y="668"/>
                  <a:pt x="896" y="668"/>
                  <a:pt x="896" y="668"/>
                </a:cubicBezTo>
                <a:cubicBezTo>
                  <a:pt x="901" y="637"/>
                  <a:pt x="899" y="602"/>
                  <a:pt x="886" y="571"/>
                </a:cubicBezTo>
                <a:cubicBezTo>
                  <a:pt x="882" y="560"/>
                  <a:pt x="877" y="551"/>
                  <a:pt x="871" y="543"/>
                </a:cubicBezTo>
                <a:cubicBezTo>
                  <a:pt x="954" y="495"/>
                  <a:pt x="954" y="495"/>
                  <a:pt x="954" y="495"/>
                </a:cubicBezTo>
                <a:cubicBezTo>
                  <a:pt x="967" y="508"/>
                  <a:pt x="987" y="512"/>
                  <a:pt x="1004" y="505"/>
                </a:cubicBezTo>
                <a:cubicBezTo>
                  <a:pt x="1028" y="495"/>
                  <a:pt x="1038" y="467"/>
                  <a:pt x="1029" y="444"/>
                </a:cubicBezTo>
                <a:cubicBezTo>
                  <a:pt x="1024" y="434"/>
                  <a:pt x="1016" y="426"/>
                  <a:pt x="1008" y="421"/>
                </a:cubicBezTo>
                <a:cubicBezTo>
                  <a:pt x="1037" y="295"/>
                  <a:pt x="1037" y="295"/>
                  <a:pt x="1037" y="295"/>
                </a:cubicBezTo>
                <a:cubicBezTo>
                  <a:pt x="1060" y="297"/>
                  <a:pt x="1085" y="295"/>
                  <a:pt x="1108" y="285"/>
                </a:cubicBezTo>
                <a:cubicBezTo>
                  <a:pt x="1149" y="268"/>
                  <a:pt x="1179" y="232"/>
                  <a:pt x="1188" y="191"/>
                </a:cubicBezTo>
                <a:cubicBezTo>
                  <a:pt x="1347" y="224"/>
                  <a:pt x="1347" y="224"/>
                  <a:pt x="1347" y="224"/>
                </a:cubicBezTo>
                <a:cubicBezTo>
                  <a:pt x="1345" y="237"/>
                  <a:pt x="1347" y="251"/>
                  <a:pt x="1352" y="264"/>
                </a:cubicBezTo>
                <a:cubicBezTo>
                  <a:pt x="1371" y="308"/>
                  <a:pt x="1422" y="328"/>
                  <a:pt x="1465" y="310"/>
                </a:cubicBezTo>
                <a:cubicBezTo>
                  <a:pt x="1510" y="291"/>
                  <a:pt x="1530" y="241"/>
                  <a:pt x="1511" y="197"/>
                </a:cubicBezTo>
                <a:close/>
                <a:moveTo>
                  <a:pt x="40" y="569"/>
                </a:moveTo>
                <a:cubicBezTo>
                  <a:pt x="32" y="572"/>
                  <a:pt x="22" y="568"/>
                  <a:pt x="19" y="560"/>
                </a:cubicBezTo>
                <a:cubicBezTo>
                  <a:pt x="15" y="551"/>
                  <a:pt x="19" y="542"/>
                  <a:pt x="28" y="538"/>
                </a:cubicBezTo>
                <a:cubicBezTo>
                  <a:pt x="36" y="535"/>
                  <a:pt x="47" y="538"/>
                  <a:pt x="50" y="547"/>
                </a:cubicBezTo>
                <a:cubicBezTo>
                  <a:pt x="54" y="555"/>
                  <a:pt x="49" y="565"/>
                  <a:pt x="40" y="569"/>
                </a:cubicBezTo>
                <a:close/>
                <a:moveTo>
                  <a:pt x="217" y="400"/>
                </a:moveTo>
                <a:cubicBezTo>
                  <a:pt x="211" y="388"/>
                  <a:pt x="217" y="374"/>
                  <a:pt x="228" y="370"/>
                </a:cubicBezTo>
                <a:cubicBezTo>
                  <a:pt x="240" y="365"/>
                  <a:pt x="253" y="370"/>
                  <a:pt x="258" y="383"/>
                </a:cubicBezTo>
                <a:cubicBezTo>
                  <a:pt x="263" y="394"/>
                  <a:pt x="258" y="407"/>
                  <a:pt x="246" y="412"/>
                </a:cubicBezTo>
                <a:cubicBezTo>
                  <a:pt x="235" y="417"/>
                  <a:pt x="221" y="412"/>
                  <a:pt x="217" y="400"/>
                </a:cubicBezTo>
                <a:close/>
                <a:moveTo>
                  <a:pt x="271" y="765"/>
                </a:moveTo>
                <a:cubicBezTo>
                  <a:pt x="223" y="785"/>
                  <a:pt x="168" y="762"/>
                  <a:pt x="148" y="714"/>
                </a:cubicBezTo>
                <a:cubicBezTo>
                  <a:pt x="128" y="667"/>
                  <a:pt x="151" y="611"/>
                  <a:pt x="198" y="592"/>
                </a:cubicBezTo>
                <a:cubicBezTo>
                  <a:pt x="246" y="571"/>
                  <a:pt x="301" y="594"/>
                  <a:pt x="321" y="641"/>
                </a:cubicBezTo>
                <a:cubicBezTo>
                  <a:pt x="341" y="689"/>
                  <a:pt x="319" y="744"/>
                  <a:pt x="271" y="765"/>
                </a:cubicBezTo>
                <a:close/>
                <a:moveTo>
                  <a:pt x="434" y="870"/>
                </a:moveTo>
                <a:cubicBezTo>
                  <a:pt x="457" y="860"/>
                  <a:pt x="482" y="871"/>
                  <a:pt x="491" y="892"/>
                </a:cubicBezTo>
                <a:cubicBezTo>
                  <a:pt x="501" y="915"/>
                  <a:pt x="490" y="941"/>
                  <a:pt x="468" y="950"/>
                </a:cubicBezTo>
                <a:cubicBezTo>
                  <a:pt x="446" y="959"/>
                  <a:pt x="420" y="949"/>
                  <a:pt x="411" y="926"/>
                </a:cubicBezTo>
                <a:cubicBezTo>
                  <a:pt x="402" y="904"/>
                  <a:pt x="412" y="879"/>
                  <a:pt x="434" y="870"/>
                </a:cubicBezTo>
                <a:close/>
                <a:moveTo>
                  <a:pt x="775" y="1020"/>
                </a:moveTo>
                <a:cubicBezTo>
                  <a:pt x="780" y="1031"/>
                  <a:pt x="775" y="1045"/>
                  <a:pt x="763" y="1050"/>
                </a:cubicBezTo>
                <a:cubicBezTo>
                  <a:pt x="752" y="1054"/>
                  <a:pt x="738" y="1049"/>
                  <a:pt x="734" y="1038"/>
                </a:cubicBezTo>
                <a:cubicBezTo>
                  <a:pt x="729" y="1025"/>
                  <a:pt x="734" y="1012"/>
                  <a:pt x="745" y="1007"/>
                </a:cubicBezTo>
                <a:cubicBezTo>
                  <a:pt x="757" y="1002"/>
                  <a:pt x="770" y="1008"/>
                  <a:pt x="775" y="1020"/>
                </a:cubicBezTo>
                <a:close/>
                <a:moveTo>
                  <a:pt x="768" y="724"/>
                </a:moveTo>
                <a:cubicBezTo>
                  <a:pt x="718" y="745"/>
                  <a:pt x="660" y="721"/>
                  <a:pt x="639" y="671"/>
                </a:cubicBezTo>
                <a:cubicBezTo>
                  <a:pt x="618" y="621"/>
                  <a:pt x="641" y="563"/>
                  <a:pt x="691" y="542"/>
                </a:cubicBezTo>
                <a:cubicBezTo>
                  <a:pt x="742" y="521"/>
                  <a:pt x="799" y="545"/>
                  <a:pt x="820" y="595"/>
                </a:cubicBezTo>
                <a:cubicBezTo>
                  <a:pt x="841" y="645"/>
                  <a:pt x="818" y="703"/>
                  <a:pt x="768" y="724"/>
                </a:cubicBezTo>
                <a:close/>
                <a:moveTo>
                  <a:pt x="1167" y="633"/>
                </a:moveTo>
                <a:cubicBezTo>
                  <a:pt x="1190" y="624"/>
                  <a:pt x="1215" y="634"/>
                  <a:pt x="1224" y="656"/>
                </a:cubicBezTo>
                <a:cubicBezTo>
                  <a:pt x="1234" y="678"/>
                  <a:pt x="1223" y="704"/>
                  <a:pt x="1201" y="714"/>
                </a:cubicBezTo>
                <a:cubicBezTo>
                  <a:pt x="1179" y="723"/>
                  <a:pt x="1153" y="712"/>
                  <a:pt x="1144" y="690"/>
                </a:cubicBezTo>
                <a:cubicBezTo>
                  <a:pt x="1135" y="668"/>
                  <a:pt x="1145" y="642"/>
                  <a:pt x="1167" y="633"/>
                </a:cubicBezTo>
                <a:close/>
                <a:moveTo>
                  <a:pt x="995" y="483"/>
                </a:moveTo>
                <a:cubicBezTo>
                  <a:pt x="983" y="488"/>
                  <a:pt x="970" y="482"/>
                  <a:pt x="965" y="471"/>
                </a:cubicBezTo>
                <a:cubicBezTo>
                  <a:pt x="960" y="459"/>
                  <a:pt x="966" y="445"/>
                  <a:pt x="977" y="440"/>
                </a:cubicBezTo>
                <a:cubicBezTo>
                  <a:pt x="988" y="436"/>
                  <a:pt x="1002" y="441"/>
                  <a:pt x="1007" y="453"/>
                </a:cubicBezTo>
                <a:cubicBezTo>
                  <a:pt x="1012" y="465"/>
                  <a:pt x="1006" y="478"/>
                  <a:pt x="995" y="483"/>
                </a:cubicBezTo>
                <a:close/>
                <a:moveTo>
                  <a:pt x="1085" y="230"/>
                </a:moveTo>
                <a:cubicBezTo>
                  <a:pt x="1044" y="248"/>
                  <a:pt x="996" y="229"/>
                  <a:pt x="978" y="187"/>
                </a:cubicBezTo>
                <a:cubicBezTo>
                  <a:pt x="961" y="145"/>
                  <a:pt x="981" y="98"/>
                  <a:pt x="1022" y="81"/>
                </a:cubicBezTo>
                <a:cubicBezTo>
                  <a:pt x="1063" y="63"/>
                  <a:pt x="1110" y="83"/>
                  <a:pt x="1128" y="124"/>
                </a:cubicBezTo>
                <a:cubicBezTo>
                  <a:pt x="1145" y="166"/>
                  <a:pt x="1126" y="213"/>
                  <a:pt x="1085" y="230"/>
                </a:cubicBezTo>
                <a:close/>
                <a:moveTo>
                  <a:pt x="1449" y="271"/>
                </a:moveTo>
                <a:cubicBezTo>
                  <a:pt x="1427" y="280"/>
                  <a:pt x="1402" y="270"/>
                  <a:pt x="1392" y="247"/>
                </a:cubicBezTo>
                <a:cubicBezTo>
                  <a:pt x="1383" y="225"/>
                  <a:pt x="1393" y="200"/>
                  <a:pt x="1415" y="191"/>
                </a:cubicBezTo>
                <a:cubicBezTo>
                  <a:pt x="1438" y="181"/>
                  <a:pt x="1463" y="192"/>
                  <a:pt x="1472" y="213"/>
                </a:cubicBezTo>
                <a:cubicBezTo>
                  <a:pt x="1482" y="236"/>
                  <a:pt x="1471" y="262"/>
                  <a:pt x="1449" y="271"/>
                </a:cubicBezTo>
                <a:close/>
              </a:path>
            </a:pathLst>
          </a:custGeom>
          <a:solidFill>
            <a:schemeClr val="accent1">
              <a:alpha val="10000"/>
            </a:schemeClr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365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7" rtl="0" eaLnBrk="1" latinLnBrk="0" hangingPunct="1">
        <a:spcBef>
          <a:spcPct val="0"/>
        </a:spcBef>
        <a:buNone/>
        <a:defRPr lang="en-US" sz="3600" b="0" kern="1200" dirty="0">
          <a:solidFill>
            <a:schemeClr val="accent1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272967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7798" indent="-272967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0764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9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256" indent="-177748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335" indent="-179335" algn="l" defTabSz="91412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3847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0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2" algn="l" defTabSz="91412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7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8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40001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1" y="1512000"/>
            <a:ext cx="11109600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210175" y="6084000"/>
            <a:ext cx="1440001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5823"/>
            <a:fld id="{27FC3DAB-407D-4279-8EB6-232635B61438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875823"/>
              <a:t>6/4/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3934800" y="6084000"/>
            <a:ext cx="4320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5823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540000" y="6084000"/>
            <a:ext cx="900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5823"/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875823"/>
              <a:t>‹Nr.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742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75823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643" indent="-258643" algn="l" defTabSz="875823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689590" indent="-258643" algn="l" defTabSz="875823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4387" indent="-258643" algn="l" defTabSz="875823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9155" indent="-258643" algn="l" defTabSz="875823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23962" indent="-258643" algn="l" defTabSz="875823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08346" indent="-218991" algn="l" defTabSz="8758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846226" indent="-218991" algn="l" defTabSz="8758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84094" indent="-218991" algn="l" defTabSz="8758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721950" indent="-218991" algn="l" defTabSz="8758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38027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75823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13687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51539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189396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627280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065135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503014" algn="l" defTabSz="8758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40001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1" y="1512000"/>
            <a:ext cx="11109600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210174" y="6084000"/>
            <a:ext cx="1440001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5911"/>
            <a:fld id="{27FC3DAB-407D-4279-8EB6-232635B61438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875911"/>
              <a:t>6/4/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3934800" y="6084000"/>
            <a:ext cx="4320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5911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540000" y="6084000"/>
            <a:ext cx="900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5911"/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875911"/>
              <a:t>‹Nr.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494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75911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669" indent="-258669" algn="l" defTabSz="875911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689658" indent="-258669" algn="l" defTabSz="875911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4491" indent="-258669" algn="l" defTabSz="875911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9293" indent="-258669" algn="l" defTabSz="875911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24134" indent="-258669" algn="l" defTabSz="875911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08586" indent="-219013" algn="l" defTabSz="87591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846510" indent="-219013" algn="l" defTabSz="87591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84422" indent="-219013" algn="l" defTabSz="87591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722322" indent="-219013" algn="l" defTabSz="87591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38071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75911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13819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51715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189614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627543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065441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503364" algn="l" defTabSz="8759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40001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1" y="1512000"/>
            <a:ext cx="11109600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210171" y="6084000"/>
            <a:ext cx="1440001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6087"/>
            <a:fld id="{27FC3DAB-407D-4279-8EB6-232635B61438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876087"/>
              <a:t>6/4/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3934800" y="6084000"/>
            <a:ext cx="4320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6087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540000" y="6084000"/>
            <a:ext cx="900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876087"/>
            <a:fld id="{02CEFE82-39F2-4F47-8A0C-D5AB3496FA5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876087"/>
              <a:t>‹Nr.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60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76087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21" indent="-258721" algn="l" defTabSz="87608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689794" indent="-258721" algn="l" defTabSz="87608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4699" indent="-258721" algn="l" defTabSz="87608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9569" indent="-258721" algn="l" defTabSz="87608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24478" indent="-258721" algn="l" defTabSz="87608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09066" indent="-219057" algn="l" defTabSz="8760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847078" indent="-219057" algn="l" defTabSz="8760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85078" indent="-219057" algn="l" defTabSz="8760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723066" indent="-219057" algn="l" defTabSz="8760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38159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76087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14083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52067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190052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628068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066055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504064" algn="l" defTabSz="8760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5.emf"/><Relationship Id="rId5" Type="http://schemas.openxmlformats.org/officeDocument/2006/relationships/image" Target="../media/image34.emf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xchange/configure-oauth-authentication-between-exchange-and-exchange-online-organizations-exchange-2013-help?WT.mc_id=M365-MVP-5003086#how-do-you-configure-oauth-authentication-between-your-on-premises-exchange-and-exchange-online-organizations" TargetMode="External"/><Relationship Id="rId2" Type="http://schemas.openxmlformats.org/officeDocument/2006/relationships/hyperlink" Target="https://docs.microsoft.com/microsoftteams/exchange-teams-interact?WT.mc_id=M365-MVP-5003086#requirements-to-create-and-view-meetings-for-mailboxes-hosted-on-premises" TargetMode="Externa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docs.microsoft.com/microsoftteams/troubleshoot/exchange-integration/teams-exchange-interaction-issue?WT.mc_id=TM-MVP-5003086" TargetMode="External"/><Relationship Id="rId5" Type="http://schemas.openxmlformats.org/officeDocument/2006/relationships/hyperlink" Target="https://techcommunity.microsoft.com/t5/exchange-team-blog/my-user-has-a-mailbox-both-on-premises-and-in-exchange-online/ba-p/846809?WT.mc_id=M365-MVP-5003086" TargetMode="External"/><Relationship Id="rId4" Type="http://schemas.openxmlformats.org/officeDocument/2006/relationships/hyperlink" Target="https://docs.microsoft.com/microsoftteams/log-files?WT.mc_id=TM-MVP-5003086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m365businessbuch.de/" TargetMode="External"/><Relationship Id="rId3" Type="http://schemas.openxmlformats.org/officeDocument/2006/relationships/hyperlink" Target="mailto:thomas.stensitzki@granikos.eu" TargetMode="External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go.granikos.eu/Exchange2019Buch" TargetMode="External"/><Relationship Id="rId5" Type="http://schemas.openxmlformats.org/officeDocument/2006/relationships/image" Target="../media/image6.png"/><Relationship Id="rId4" Type="http://schemas.openxmlformats.org/officeDocument/2006/relationships/hyperlink" Target="https://www.linkedin.com/in/thomasstensitzki" TargetMode="External"/><Relationship Id="rId9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emf"/><Relationship Id="rId7" Type="http://schemas.openxmlformats.org/officeDocument/2006/relationships/image" Target="../media/image17.png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emf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image" Target="../media/image22.emf"/><Relationship Id="rId7" Type="http://schemas.openxmlformats.org/officeDocument/2006/relationships/image" Target="../media/image26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5.emf"/><Relationship Id="rId5" Type="http://schemas.openxmlformats.org/officeDocument/2006/relationships/image" Target="../media/image24.emf"/><Relationship Id="rId4" Type="http://schemas.openxmlformats.org/officeDocument/2006/relationships/image" Target="../media/image23.emf"/><Relationship Id="rId9" Type="http://schemas.openxmlformats.org/officeDocument/2006/relationships/image" Target="../media/image2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Microsoft Teams and On-Premises Mailbox - Why?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 bwMode="gray"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F9696F3-4B51-4D61-B1B0-E972D354E1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161" y="5803204"/>
            <a:ext cx="1525080" cy="101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6093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62EBF0-9017-4F02-A5BF-883C7D2B0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On-Premises Mailbox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CC149E3-33D1-40A3-BA0E-AAF143934F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tumbling Block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F50178B-4696-461E-BF02-0ABEC5D0F6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6252" y="1483952"/>
            <a:ext cx="10492407" cy="4320000"/>
          </a:xfrm>
        </p:spPr>
        <p:txBody>
          <a:bodyPr/>
          <a:lstStyle/>
          <a:p>
            <a:r>
              <a:rPr lang="en-US" dirty="0"/>
              <a:t>Stumbling Block 1 – Exchange Server Version</a:t>
            </a:r>
          </a:p>
          <a:p>
            <a:pPr lvl="1"/>
            <a:r>
              <a:rPr lang="en-US" dirty="0"/>
              <a:t>Exchange Server 2016 CU3 or newer </a:t>
            </a:r>
            <a:r>
              <a:rPr lang="en-US" dirty="0">
                <a:sym typeface="Wingdings" panose="05000000000000000000" pitchFamily="2" charset="2"/>
              </a:rPr>
              <a:t> required for AutoDiscover V2 support</a:t>
            </a:r>
          </a:p>
          <a:p>
            <a:pPr lvl="1"/>
            <a:r>
              <a:rPr lang="en-US" dirty="0"/>
              <a:t>Follow Exchange Server support life-cycle and keep your on-premises Exchange Server versions up-to-date</a:t>
            </a:r>
          </a:p>
          <a:p>
            <a:r>
              <a:rPr lang="en-US" dirty="0"/>
              <a:t>Stumbling Block 2 – Hybrid identities and Azure AD Connect</a:t>
            </a:r>
          </a:p>
          <a:p>
            <a:pPr lvl="1"/>
            <a:r>
              <a:rPr lang="en-US" dirty="0"/>
              <a:t>Exchange Online identifies on-premises mailboxes using the Mail User object information</a:t>
            </a:r>
          </a:p>
          <a:p>
            <a:pPr lvl="1"/>
            <a:r>
              <a:rPr lang="en-US" dirty="0"/>
              <a:t>Azure AD Connect transfers this information with the Exchange Hybrid option enabled</a:t>
            </a:r>
          </a:p>
          <a:p>
            <a:r>
              <a:rPr lang="en-US" dirty="0"/>
              <a:t>Stumbling Block 3 – Teams Backend Services Connectivity</a:t>
            </a:r>
          </a:p>
          <a:p>
            <a:pPr lvl="1"/>
            <a:r>
              <a:rPr lang="en-US" dirty="0"/>
              <a:t>Ensure proper DNS name resolution in external DNS zone(s)</a:t>
            </a:r>
          </a:p>
          <a:p>
            <a:pPr lvl="1"/>
            <a:r>
              <a:rPr lang="en-US" dirty="0"/>
              <a:t>No client string filtering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29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62EBF0-9017-4F02-A5BF-883C7D2B0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On-Premises Mailbox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CC149E3-33D1-40A3-BA0E-AAF143934F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tumbling Block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F50178B-4696-461E-BF02-0ABEC5D0F6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umbling Block 4 – Virtual Directory URL Settings</a:t>
            </a:r>
          </a:p>
          <a:p>
            <a:pPr lvl="1"/>
            <a:r>
              <a:rPr lang="en-US" dirty="0"/>
              <a:t>Ensure that external URL settings are set correctly across all Exchange Servers</a:t>
            </a:r>
          </a:p>
          <a:p>
            <a:r>
              <a:rPr lang="en-US" dirty="0"/>
              <a:t>Stumbling Block 5 – OAuth Authentication</a:t>
            </a:r>
          </a:p>
          <a:p>
            <a:pPr lvl="1"/>
            <a:r>
              <a:rPr lang="en-US" dirty="0"/>
              <a:t>Teams Backend Services must authenticate to on-premises Exchange using OAuth</a:t>
            </a:r>
          </a:p>
          <a:p>
            <a:pPr lvl="1"/>
            <a:r>
              <a:rPr lang="en-US" dirty="0"/>
              <a:t>Ensure that OAuth is configured correctly </a:t>
            </a:r>
            <a:r>
              <a:rPr lang="en-US" dirty="0">
                <a:sym typeface="Wingdings" panose="05000000000000000000" pitchFamily="2" charset="2"/>
              </a:rPr>
              <a:t> Use Hybrid Configuration Wizard or follow documentation </a:t>
            </a:r>
          </a:p>
          <a:p>
            <a:r>
              <a:rPr lang="en-US" dirty="0">
                <a:sym typeface="Wingdings" panose="05000000000000000000" pitchFamily="2" charset="2"/>
              </a:rPr>
              <a:t>Stumbling Block 6 – Delegate Access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Delegate access to a users' mailbox requires use of Outlook Delegate Wizard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Direct folder rights assignment does not work</a:t>
            </a:r>
            <a:endParaRPr lang="en-US" dirty="0"/>
          </a:p>
          <a:p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652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62EBF0-9017-4F02-A5BF-883C7D2B0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On-Premises Mailbox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CC149E3-33D1-40A3-BA0E-AAF143934F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mplex troubleshooting</a:t>
            </a: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DD1D88B3-2C92-4691-98F1-DA81EA36E700}"/>
              </a:ext>
            </a:extLst>
          </p:cNvPr>
          <p:cNvSpPr/>
          <p:nvPr/>
        </p:nvSpPr>
        <p:spPr bwMode="auto">
          <a:xfrm>
            <a:off x="1021194" y="1259483"/>
            <a:ext cx="1271521" cy="560604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7030A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34290" rIns="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64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71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129">
            <a:extLst>
              <a:ext uri="{FF2B5EF4-FFF2-40B4-BE49-F238E27FC236}">
                <a16:creationId xmlns:a16="http://schemas.microsoft.com/office/drawing/2014/main" id="{F8ACB9E6-1D8F-4CC6-94FF-5E83B3C563B3}"/>
              </a:ext>
            </a:extLst>
          </p:cNvPr>
          <p:cNvSpPr/>
          <p:nvPr/>
        </p:nvSpPr>
        <p:spPr>
          <a:xfrm>
            <a:off x="1021194" y="6161872"/>
            <a:ext cx="1271521" cy="703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67"/>
            <a:r>
              <a:rPr lang="en-US" sz="1324" dirty="0">
                <a:solidFill>
                  <a:srgbClr val="7030A0"/>
                </a:solidFill>
                <a:latin typeface="Segoe UI"/>
              </a:rPr>
              <a:t>Teams Backend</a:t>
            </a:r>
            <a:br>
              <a:rPr lang="en-US" sz="1324" dirty="0">
                <a:solidFill>
                  <a:srgbClr val="7030A0"/>
                </a:solidFill>
                <a:latin typeface="Segoe UI"/>
              </a:rPr>
            </a:br>
            <a:r>
              <a:rPr lang="en-US" sz="1324" dirty="0">
                <a:solidFill>
                  <a:srgbClr val="7030A0"/>
                </a:solidFill>
                <a:latin typeface="Segoe UI"/>
              </a:rPr>
              <a:t>Services</a:t>
            </a:r>
          </a:p>
        </p:txBody>
      </p:sp>
      <p:pic>
        <p:nvPicPr>
          <p:cNvPr id="9" name="Grafik 8" descr="Cloud Silhouette">
            <a:extLst>
              <a:ext uri="{FF2B5EF4-FFF2-40B4-BE49-F238E27FC236}">
                <a16:creationId xmlns:a16="http://schemas.microsoft.com/office/drawing/2014/main" id="{8E006328-4994-4CE4-8F7F-A812306988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195" y="2881729"/>
            <a:ext cx="1271520" cy="1271520"/>
          </a:xfrm>
          <a:prstGeom prst="rect">
            <a:avLst/>
          </a:prstGeom>
        </p:spPr>
      </p:pic>
      <p:pic>
        <p:nvPicPr>
          <p:cNvPr id="10" name="Picture 108">
            <a:extLst>
              <a:ext uri="{FF2B5EF4-FFF2-40B4-BE49-F238E27FC236}">
                <a16:creationId xmlns:a16="http://schemas.microsoft.com/office/drawing/2014/main" id="{6312AA25-8FD9-4CB3-931B-B88045E98A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7215" y="3423969"/>
            <a:ext cx="345942" cy="28611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0BE48D1-CFD9-4B24-835C-B9E2881799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8904" y="3582982"/>
            <a:ext cx="325148" cy="325148"/>
          </a:xfrm>
          <a:prstGeom prst="rect">
            <a:avLst/>
          </a:prstGeom>
        </p:spPr>
      </p:pic>
      <p:sp>
        <p:nvSpPr>
          <p:cNvPr id="12" name="Rectangle 8">
            <a:extLst>
              <a:ext uri="{FF2B5EF4-FFF2-40B4-BE49-F238E27FC236}">
                <a16:creationId xmlns:a16="http://schemas.microsoft.com/office/drawing/2014/main" id="{873629AC-B23A-49C2-8B37-7F485C12C73E}"/>
              </a:ext>
            </a:extLst>
          </p:cNvPr>
          <p:cNvSpPr/>
          <p:nvPr/>
        </p:nvSpPr>
        <p:spPr bwMode="auto">
          <a:xfrm>
            <a:off x="2730866" y="1267048"/>
            <a:ext cx="8586512" cy="56060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34290" rIns="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64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71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5877D5C-1E9C-4033-89F6-B2F6996CF5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04832" y="967292"/>
            <a:ext cx="781050" cy="762000"/>
          </a:xfrm>
          <a:prstGeom prst="rect">
            <a:avLst/>
          </a:prstGeom>
        </p:spPr>
      </p:pic>
      <p:sp>
        <p:nvSpPr>
          <p:cNvPr id="14" name="Rounded Rectangle 93">
            <a:extLst>
              <a:ext uri="{FF2B5EF4-FFF2-40B4-BE49-F238E27FC236}">
                <a16:creationId xmlns:a16="http://schemas.microsoft.com/office/drawing/2014/main" id="{70214545-D347-4B01-86AF-2D15051A0515}"/>
              </a:ext>
            </a:extLst>
          </p:cNvPr>
          <p:cNvSpPr/>
          <p:nvPr/>
        </p:nvSpPr>
        <p:spPr>
          <a:xfrm rot="5400000">
            <a:off x="3412017" y="3486154"/>
            <a:ext cx="2618265" cy="1104811"/>
          </a:xfrm>
          <a:prstGeom prst="roundRect">
            <a:avLst>
              <a:gd name="adj" fmla="val 4167"/>
            </a:avLst>
          </a:prstGeom>
          <a:solidFill>
            <a:schemeClr val="bg1">
              <a:alpha val="19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900" dirty="0">
                <a:solidFill>
                  <a:schemeClr val="tx1"/>
                </a:solidFill>
              </a:rPr>
              <a:t>https.sys</a:t>
            </a:r>
          </a:p>
        </p:txBody>
      </p:sp>
      <p:sp>
        <p:nvSpPr>
          <p:cNvPr id="15" name="Rounded Rectangle 93">
            <a:extLst>
              <a:ext uri="{FF2B5EF4-FFF2-40B4-BE49-F238E27FC236}">
                <a16:creationId xmlns:a16="http://schemas.microsoft.com/office/drawing/2014/main" id="{814CE698-070F-4C7A-AA86-EE331E6A40C0}"/>
              </a:ext>
            </a:extLst>
          </p:cNvPr>
          <p:cNvSpPr/>
          <p:nvPr/>
        </p:nvSpPr>
        <p:spPr>
          <a:xfrm rot="5400000">
            <a:off x="4854172" y="3486154"/>
            <a:ext cx="2618265" cy="1104811"/>
          </a:xfrm>
          <a:prstGeom prst="roundRect">
            <a:avLst>
              <a:gd name="adj" fmla="val 4167"/>
            </a:avLst>
          </a:prstGeom>
          <a:solidFill>
            <a:schemeClr val="bg1">
              <a:alpha val="19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900" dirty="0" err="1">
                <a:solidFill>
                  <a:schemeClr val="tx1"/>
                </a:solidFill>
              </a:rPr>
              <a:t>MSExchangeServicesAppPool</a:t>
            </a:r>
            <a:br>
              <a:rPr lang="en-US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(W3WP)</a:t>
            </a:r>
          </a:p>
        </p:txBody>
      </p:sp>
      <p:sp>
        <p:nvSpPr>
          <p:cNvPr id="17" name="Rounded Rectangle 93">
            <a:extLst>
              <a:ext uri="{FF2B5EF4-FFF2-40B4-BE49-F238E27FC236}">
                <a16:creationId xmlns:a16="http://schemas.microsoft.com/office/drawing/2014/main" id="{042F1899-75D2-4352-A4D2-CF61ADF8C36A}"/>
              </a:ext>
            </a:extLst>
          </p:cNvPr>
          <p:cNvSpPr/>
          <p:nvPr/>
        </p:nvSpPr>
        <p:spPr>
          <a:xfrm rot="5400000">
            <a:off x="7510365" y="3486153"/>
            <a:ext cx="2618265" cy="1104811"/>
          </a:xfrm>
          <a:prstGeom prst="roundRect">
            <a:avLst>
              <a:gd name="adj" fmla="val 4167"/>
            </a:avLst>
          </a:prstGeom>
          <a:solidFill>
            <a:schemeClr val="bg1">
              <a:alpha val="19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900" dirty="0">
                <a:solidFill>
                  <a:schemeClr val="tx1"/>
                </a:solidFill>
              </a:rPr>
              <a:t>https.sys</a:t>
            </a:r>
          </a:p>
        </p:txBody>
      </p:sp>
      <p:sp>
        <p:nvSpPr>
          <p:cNvPr id="18" name="Rounded Rectangle 93">
            <a:extLst>
              <a:ext uri="{FF2B5EF4-FFF2-40B4-BE49-F238E27FC236}">
                <a16:creationId xmlns:a16="http://schemas.microsoft.com/office/drawing/2014/main" id="{48F355F1-0F74-47DB-8FA9-8CB9C7EC7E68}"/>
              </a:ext>
            </a:extLst>
          </p:cNvPr>
          <p:cNvSpPr/>
          <p:nvPr/>
        </p:nvSpPr>
        <p:spPr>
          <a:xfrm rot="5400000">
            <a:off x="8952520" y="3486153"/>
            <a:ext cx="2618265" cy="1104811"/>
          </a:xfrm>
          <a:prstGeom prst="roundRect">
            <a:avLst>
              <a:gd name="adj" fmla="val 4167"/>
            </a:avLst>
          </a:prstGeom>
          <a:solidFill>
            <a:schemeClr val="bg1">
              <a:alpha val="19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900" dirty="0" err="1">
                <a:solidFill>
                  <a:schemeClr val="tx1"/>
                </a:solidFill>
              </a:rPr>
              <a:t>MSExchangeServicesAppPool</a:t>
            </a:r>
            <a:br>
              <a:rPr lang="en-US" sz="900" dirty="0">
                <a:solidFill>
                  <a:schemeClr val="tx1"/>
                </a:solidFill>
              </a:rPr>
            </a:br>
            <a:r>
              <a:rPr lang="en-US" sz="900" dirty="0">
                <a:solidFill>
                  <a:schemeClr val="tx1"/>
                </a:solidFill>
              </a:rPr>
              <a:t>(W3WP)</a:t>
            </a:r>
          </a:p>
        </p:txBody>
      </p:sp>
      <p:sp>
        <p:nvSpPr>
          <p:cNvPr id="19" name="Snip Single Corner Rectangle 46">
            <a:extLst>
              <a:ext uri="{FF2B5EF4-FFF2-40B4-BE49-F238E27FC236}">
                <a16:creationId xmlns:a16="http://schemas.microsoft.com/office/drawing/2014/main" id="{6BE75D4B-782D-4E7B-B66C-6847AD5D1D90}"/>
              </a:ext>
            </a:extLst>
          </p:cNvPr>
          <p:cNvSpPr/>
          <p:nvPr/>
        </p:nvSpPr>
        <p:spPr>
          <a:xfrm>
            <a:off x="7922698" y="3976769"/>
            <a:ext cx="506770" cy="310622"/>
          </a:xfrm>
          <a:prstGeom prst="snip1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WS</a:t>
            </a:r>
          </a:p>
        </p:txBody>
      </p:sp>
      <p:sp>
        <p:nvSpPr>
          <p:cNvPr id="25" name="Rounded Rectangle 49">
            <a:extLst>
              <a:ext uri="{FF2B5EF4-FFF2-40B4-BE49-F238E27FC236}">
                <a16:creationId xmlns:a16="http://schemas.microsoft.com/office/drawing/2014/main" id="{242DE912-91BE-4AA0-A1D4-CCB9EAC1ABDC}"/>
              </a:ext>
            </a:extLst>
          </p:cNvPr>
          <p:cNvSpPr/>
          <p:nvPr/>
        </p:nvSpPr>
        <p:spPr>
          <a:xfrm>
            <a:off x="4125129" y="2574115"/>
            <a:ext cx="1192040" cy="310622"/>
          </a:xfrm>
          <a:prstGeom prst="roundRect">
            <a:avLst>
              <a:gd name="adj" fmla="val 4167"/>
            </a:avLst>
          </a:prstGeom>
          <a:solidFill>
            <a:srgbClr val="50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IIS</a:t>
            </a:r>
          </a:p>
        </p:txBody>
      </p:sp>
      <p:sp>
        <p:nvSpPr>
          <p:cNvPr id="26" name="Rounded Rectangle 49">
            <a:extLst>
              <a:ext uri="{FF2B5EF4-FFF2-40B4-BE49-F238E27FC236}">
                <a16:creationId xmlns:a16="http://schemas.microsoft.com/office/drawing/2014/main" id="{4EC2B299-F8FE-418C-A449-929534F0D305}"/>
              </a:ext>
            </a:extLst>
          </p:cNvPr>
          <p:cNvSpPr/>
          <p:nvPr/>
        </p:nvSpPr>
        <p:spPr>
          <a:xfrm>
            <a:off x="8223477" y="2573129"/>
            <a:ext cx="1192040" cy="310622"/>
          </a:xfrm>
          <a:prstGeom prst="roundRect">
            <a:avLst>
              <a:gd name="adj" fmla="val 4167"/>
            </a:avLst>
          </a:prstGeom>
          <a:solidFill>
            <a:srgbClr val="50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IIS</a:t>
            </a:r>
          </a:p>
        </p:txBody>
      </p:sp>
      <p:sp>
        <p:nvSpPr>
          <p:cNvPr id="27" name="Rounded Rectangle 49">
            <a:extLst>
              <a:ext uri="{FF2B5EF4-FFF2-40B4-BE49-F238E27FC236}">
                <a16:creationId xmlns:a16="http://schemas.microsoft.com/office/drawing/2014/main" id="{85B7B34F-96D5-4EE1-B8EE-2A8F377E8A89}"/>
              </a:ext>
            </a:extLst>
          </p:cNvPr>
          <p:cNvSpPr/>
          <p:nvPr/>
        </p:nvSpPr>
        <p:spPr>
          <a:xfrm>
            <a:off x="9674933" y="2570610"/>
            <a:ext cx="1192040" cy="310622"/>
          </a:xfrm>
          <a:prstGeom prst="roundRect">
            <a:avLst>
              <a:gd name="adj" fmla="val 4167"/>
            </a:avLst>
          </a:prstGeom>
          <a:solidFill>
            <a:srgbClr val="50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EWS</a:t>
            </a:r>
          </a:p>
        </p:txBody>
      </p:sp>
      <p:cxnSp>
        <p:nvCxnSpPr>
          <p:cNvPr id="28" name="Straight Connector 20">
            <a:extLst>
              <a:ext uri="{FF2B5EF4-FFF2-40B4-BE49-F238E27FC236}">
                <a16:creationId xmlns:a16="http://schemas.microsoft.com/office/drawing/2014/main" id="{153CA8EE-092C-4278-B637-E5A802050EB2}"/>
              </a:ext>
            </a:extLst>
          </p:cNvPr>
          <p:cNvCxnSpPr>
            <a:cxnSpLocks/>
            <a:endCxn id="14" idx="3"/>
          </p:cNvCxnSpPr>
          <p:nvPr/>
        </p:nvCxnSpPr>
        <p:spPr>
          <a:xfrm flipH="1">
            <a:off x="4721149" y="2881232"/>
            <a:ext cx="5698" cy="2466460"/>
          </a:xfrm>
          <a:prstGeom prst="line">
            <a:avLst/>
          </a:prstGeom>
          <a:ln w="19050">
            <a:solidFill>
              <a:srgbClr val="181D32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0">
            <a:extLst>
              <a:ext uri="{FF2B5EF4-FFF2-40B4-BE49-F238E27FC236}">
                <a16:creationId xmlns:a16="http://schemas.microsoft.com/office/drawing/2014/main" id="{EB8C4AB2-2EB2-43BA-BAF4-90CBC568C4D8}"/>
              </a:ext>
            </a:extLst>
          </p:cNvPr>
          <p:cNvCxnSpPr>
            <a:cxnSpLocks/>
            <a:stCxn id="15" idx="1"/>
            <a:endCxn id="15" idx="3"/>
          </p:cNvCxnSpPr>
          <p:nvPr/>
        </p:nvCxnSpPr>
        <p:spPr>
          <a:xfrm>
            <a:off x="6163304" y="2729427"/>
            <a:ext cx="0" cy="2618265"/>
          </a:xfrm>
          <a:prstGeom prst="line">
            <a:avLst/>
          </a:prstGeom>
          <a:ln w="19050">
            <a:solidFill>
              <a:srgbClr val="181D32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0">
            <a:extLst>
              <a:ext uri="{FF2B5EF4-FFF2-40B4-BE49-F238E27FC236}">
                <a16:creationId xmlns:a16="http://schemas.microsoft.com/office/drawing/2014/main" id="{699CEF51-CCBC-40B4-80FF-52C07CA28E12}"/>
              </a:ext>
            </a:extLst>
          </p:cNvPr>
          <p:cNvCxnSpPr>
            <a:cxnSpLocks/>
          </p:cNvCxnSpPr>
          <p:nvPr/>
        </p:nvCxnSpPr>
        <p:spPr>
          <a:xfrm flipH="1">
            <a:off x="8816154" y="2881231"/>
            <a:ext cx="5698" cy="2466460"/>
          </a:xfrm>
          <a:prstGeom prst="line">
            <a:avLst/>
          </a:prstGeom>
          <a:ln w="19050">
            <a:solidFill>
              <a:srgbClr val="181D32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20">
            <a:extLst>
              <a:ext uri="{FF2B5EF4-FFF2-40B4-BE49-F238E27FC236}">
                <a16:creationId xmlns:a16="http://schemas.microsoft.com/office/drawing/2014/main" id="{58577485-8463-4C23-8161-F97FDA1A5183}"/>
              </a:ext>
            </a:extLst>
          </p:cNvPr>
          <p:cNvCxnSpPr>
            <a:cxnSpLocks/>
          </p:cNvCxnSpPr>
          <p:nvPr/>
        </p:nvCxnSpPr>
        <p:spPr>
          <a:xfrm flipH="1">
            <a:off x="10255954" y="2896286"/>
            <a:ext cx="5698" cy="2466460"/>
          </a:xfrm>
          <a:prstGeom prst="line">
            <a:avLst/>
          </a:prstGeom>
          <a:ln w="19050">
            <a:solidFill>
              <a:srgbClr val="181D32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C83C7ABE-CADB-40A8-AB6F-E795E2E8A7DA}"/>
              </a:ext>
            </a:extLst>
          </p:cNvPr>
          <p:cNvCxnSpPr>
            <a:cxnSpLocks/>
          </p:cNvCxnSpPr>
          <p:nvPr/>
        </p:nvCxnSpPr>
        <p:spPr>
          <a:xfrm>
            <a:off x="4721149" y="3351225"/>
            <a:ext cx="1434625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83AB07D5-9203-4501-B603-1608B92D7725}"/>
              </a:ext>
            </a:extLst>
          </p:cNvPr>
          <p:cNvCxnSpPr>
            <a:cxnSpLocks/>
          </p:cNvCxnSpPr>
          <p:nvPr/>
        </p:nvCxnSpPr>
        <p:spPr>
          <a:xfrm>
            <a:off x="8816154" y="4458968"/>
            <a:ext cx="1434625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1856CCC5-0CD5-48C2-B75B-5A165928A390}"/>
              </a:ext>
            </a:extLst>
          </p:cNvPr>
          <p:cNvCxnSpPr>
            <a:cxnSpLocks/>
            <a:endCxn id="16" idx="2"/>
          </p:cNvCxnSpPr>
          <p:nvPr/>
        </p:nvCxnSpPr>
        <p:spPr>
          <a:xfrm>
            <a:off x="2180501" y="3567028"/>
            <a:ext cx="1602489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2" name="Rounded Rectangle 49">
            <a:extLst>
              <a:ext uri="{FF2B5EF4-FFF2-40B4-BE49-F238E27FC236}">
                <a16:creationId xmlns:a16="http://schemas.microsoft.com/office/drawing/2014/main" id="{5D0A626F-72D5-411C-B198-3A2559212F92}"/>
              </a:ext>
            </a:extLst>
          </p:cNvPr>
          <p:cNvSpPr/>
          <p:nvPr/>
        </p:nvSpPr>
        <p:spPr>
          <a:xfrm>
            <a:off x="5576746" y="2573129"/>
            <a:ext cx="1201341" cy="310622"/>
          </a:xfrm>
          <a:prstGeom prst="roundRect">
            <a:avLst>
              <a:gd name="adj" fmla="val 4167"/>
            </a:avLst>
          </a:prstGeom>
          <a:solidFill>
            <a:srgbClr val="50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68570" rIns="68570" bIns="685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EWS Proxy</a:t>
            </a:r>
          </a:p>
        </p:txBody>
      </p:sp>
      <p:cxnSp>
        <p:nvCxnSpPr>
          <p:cNvPr id="53" name="Straight Connector 20">
            <a:extLst>
              <a:ext uri="{FF2B5EF4-FFF2-40B4-BE49-F238E27FC236}">
                <a16:creationId xmlns:a16="http://schemas.microsoft.com/office/drawing/2014/main" id="{403C43BE-7DA2-4C73-9489-D8ACFAAA926D}"/>
              </a:ext>
            </a:extLst>
          </p:cNvPr>
          <p:cNvCxnSpPr>
            <a:cxnSpLocks/>
          </p:cNvCxnSpPr>
          <p:nvPr/>
        </p:nvCxnSpPr>
        <p:spPr>
          <a:xfrm>
            <a:off x="7086468" y="1267048"/>
            <a:ext cx="0" cy="560604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F1E9DA36-4EB2-4B0F-8DAF-37B8D13027FF}"/>
              </a:ext>
            </a:extLst>
          </p:cNvPr>
          <p:cNvCxnSpPr>
            <a:cxnSpLocks/>
          </p:cNvCxnSpPr>
          <p:nvPr/>
        </p:nvCxnSpPr>
        <p:spPr>
          <a:xfrm flipV="1">
            <a:off x="6163304" y="3867944"/>
            <a:ext cx="2655699" cy="2363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5" name="Rectangle 40">
            <a:extLst>
              <a:ext uri="{FF2B5EF4-FFF2-40B4-BE49-F238E27FC236}">
                <a16:creationId xmlns:a16="http://schemas.microsoft.com/office/drawing/2014/main" id="{07577184-C327-46A0-A97C-616A6BD24E16}"/>
              </a:ext>
            </a:extLst>
          </p:cNvPr>
          <p:cNvSpPr/>
          <p:nvPr/>
        </p:nvSpPr>
        <p:spPr>
          <a:xfrm>
            <a:off x="3073346" y="3327081"/>
            <a:ext cx="61812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latin typeface="Segoe UI" panose="020B0502040204020203" pitchFamily="34" charset="0"/>
                <a:cs typeface="Segoe UI" panose="020B0502040204020203" pitchFamily="34" charset="0"/>
              </a:rPr>
              <a:t>TCP 443</a:t>
            </a:r>
          </a:p>
        </p:txBody>
      </p:sp>
      <p:sp>
        <p:nvSpPr>
          <p:cNvPr id="56" name="Rectangle 40">
            <a:extLst>
              <a:ext uri="{FF2B5EF4-FFF2-40B4-BE49-F238E27FC236}">
                <a16:creationId xmlns:a16="http://schemas.microsoft.com/office/drawing/2014/main" id="{DC615A15-0BF9-46AE-A95E-34D2079325B9}"/>
              </a:ext>
            </a:extLst>
          </p:cNvPr>
          <p:cNvSpPr/>
          <p:nvPr/>
        </p:nvSpPr>
        <p:spPr>
          <a:xfrm>
            <a:off x="7681550" y="3643703"/>
            <a:ext cx="61812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latin typeface="Segoe UI" panose="020B0502040204020203" pitchFamily="34" charset="0"/>
                <a:cs typeface="Segoe UI" panose="020B0502040204020203" pitchFamily="34" charset="0"/>
              </a:rPr>
              <a:t>TCP 444</a:t>
            </a:r>
          </a:p>
        </p:txBody>
      </p: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5698EC09-04D8-48F8-BE78-A78BA322BF3A}"/>
              </a:ext>
            </a:extLst>
          </p:cNvPr>
          <p:cNvCxnSpPr>
            <a:cxnSpLocks/>
          </p:cNvCxnSpPr>
          <p:nvPr/>
        </p:nvCxnSpPr>
        <p:spPr>
          <a:xfrm>
            <a:off x="4289760" y="3582982"/>
            <a:ext cx="437087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2" name="Rectangle 49">
            <a:extLst>
              <a:ext uri="{FF2B5EF4-FFF2-40B4-BE49-F238E27FC236}">
                <a16:creationId xmlns:a16="http://schemas.microsoft.com/office/drawing/2014/main" id="{BBD9A17A-932D-4676-AC8F-AC8FB64A571F}"/>
              </a:ext>
            </a:extLst>
          </p:cNvPr>
          <p:cNvSpPr/>
          <p:nvPr/>
        </p:nvSpPr>
        <p:spPr>
          <a:xfrm>
            <a:off x="7086468" y="6582016"/>
            <a:ext cx="4230902" cy="296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24" b="1" dirty="0">
                <a:solidFill>
                  <a:schemeClr val="bg2">
                    <a:lumMod val="10000"/>
                  </a:schemeClr>
                </a:solidFill>
              </a:rPr>
              <a:t>Mailbox</a:t>
            </a:r>
          </a:p>
        </p:txBody>
      </p:sp>
      <p:sp>
        <p:nvSpPr>
          <p:cNvPr id="63" name="Rectangle 49">
            <a:extLst>
              <a:ext uri="{FF2B5EF4-FFF2-40B4-BE49-F238E27FC236}">
                <a16:creationId xmlns:a16="http://schemas.microsoft.com/office/drawing/2014/main" id="{74EF4C08-605F-44C6-BBA4-99E67B29B78B}"/>
              </a:ext>
            </a:extLst>
          </p:cNvPr>
          <p:cNvSpPr/>
          <p:nvPr/>
        </p:nvSpPr>
        <p:spPr>
          <a:xfrm>
            <a:off x="2730866" y="6577944"/>
            <a:ext cx="4368026" cy="296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24" b="1" dirty="0">
                <a:solidFill>
                  <a:schemeClr val="bg2">
                    <a:lumMod val="10000"/>
                  </a:schemeClr>
                </a:solidFill>
              </a:rPr>
              <a:t>Client Access Frontend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07D9954-A950-471F-8FC0-17FBCCF29FCD}"/>
              </a:ext>
            </a:extLst>
          </p:cNvPr>
          <p:cNvSpPr/>
          <p:nvPr/>
        </p:nvSpPr>
        <p:spPr>
          <a:xfrm>
            <a:off x="2833006" y="1395983"/>
            <a:ext cx="1856585" cy="413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er A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EF9FA65F-FFE5-402B-A6EC-7F01B751C68C}"/>
              </a:ext>
            </a:extLst>
          </p:cNvPr>
          <p:cNvSpPr/>
          <p:nvPr/>
        </p:nvSpPr>
        <p:spPr>
          <a:xfrm>
            <a:off x="7174001" y="1390272"/>
            <a:ext cx="1856585" cy="413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er A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A6835CD-5B5C-4B76-9FD3-ED5BD453AC20}"/>
              </a:ext>
            </a:extLst>
          </p:cNvPr>
          <p:cNvSpPr/>
          <p:nvPr/>
        </p:nvSpPr>
        <p:spPr>
          <a:xfrm rot="20876037">
            <a:off x="7188608" y="1433458"/>
            <a:ext cx="1856585" cy="4136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er B</a:t>
            </a:r>
          </a:p>
        </p:txBody>
      </p:sp>
      <p:sp>
        <p:nvSpPr>
          <p:cNvPr id="16" name="Snip Single Corner Rectangle 46">
            <a:extLst>
              <a:ext uri="{FF2B5EF4-FFF2-40B4-BE49-F238E27FC236}">
                <a16:creationId xmlns:a16="http://schemas.microsoft.com/office/drawing/2014/main" id="{9F7DC946-8D94-4391-9B50-FC28AEAF0D18}"/>
              </a:ext>
            </a:extLst>
          </p:cNvPr>
          <p:cNvSpPr/>
          <p:nvPr/>
        </p:nvSpPr>
        <p:spPr>
          <a:xfrm>
            <a:off x="3782990" y="3411717"/>
            <a:ext cx="506770" cy="310622"/>
          </a:xfrm>
          <a:prstGeom prst="snip1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W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419BEE3D-B179-4216-BBED-38840B173D36}"/>
              </a:ext>
            </a:extLst>
          </p:cNvPr>
          <p:cNvSpPr/>
          <p:nvPr/>
        </p:nvSpPr>
        <p:spPr>
          <a:xfrm>
            <a:off x="2358461" y="3733736"/>
            <a:ext cx="1503955" cy="310623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irewall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4A9C577E-85FB-4958-82D3-543363813FC7}"/>
              </a:ext>
            </a:extLst>
          </p:cNvPr>
          <p:cNvSpPr/>
          <p:nvPr/>
        </p:nvSpPr>
        <p:spPr>
          <a:xfrm>
            <a:off x="2352045" y="4036277"/>
            <a:ext cx="1510372" cy="310623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verse Proxy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87A3988-E698-4B46-A47A-8B704A2A32A9}"/>
              </a:ext>
            </a:extLst>
          </p:cNvPr>
          <p:cNvSpPr/>
          <p:nvPr/>
        </p:nvSpPr>
        <p:spPr>
          <a:xfrm>
            <a:off x="2355179" y="4343988"/>
            <a:ext cx="1510373" cy="310623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ntrution</a:t>
            </a:r>
            <a:r>
              <a:rPr lang="en-US" sz="12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Detection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066B479-52B2-431A-B765-28F5E26B7872}"/>
              </a:ext>
            </a:extLst>
          </p:cNvPr>
          <p:cNvSpPr/>
          <p:nvPr/>
        </p:nvSpPr>
        <p:spPr>
          <a:xfrm>
            <a:off x="2356895" y="4657114"/>
            <a:ext cx="1510373" cy="310623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oad Balancer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A9063EBD-09A6-4116-A8C0-F88D74D2077B}"/>
              </a:ext>
            </a:extLst>
          </p:cNvPr>
          <p:cNvSpPr/>
          <p:nvPr/>
        </p:nvSpPr>
        <p:spPr>
          <a:xfrm>
            <a:off x="2350496" y="4974168"/>
            <a:ext cx="1510373" cy="310623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LS-Proxy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9F208FFA-487D-410A-9B3D-8E4A50C89612}"/>
              </a:ext>
            </a:extLst>
          </p:cNvPr>
          <p:cNvSpPr/>
          <p:nvPr/>
        </p:nvSpPr>
        <p:spPr>
          <a:xfrm>
            <a:off x="2350495" y="5281673"/>
            <a:ext cx="1510373" cy="310623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ny other device…</a:t>
            </a:r>
          </a:p>
        </p:txBody>
      </p:sp>
    </p:spTree>
    <p:extLst>
      <p:ext uri="{BB962C8B-B14F-4D97-AF65-F5344CB8AC3E}">
        <p14:creationId xmlns:p14="http://schemas.microsoft.com/office/powerpoint/2010/main" val="338572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5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5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/>
      <p:bldP spid="56" grpId="0"/>
      <p:bldP spid="64" grpId="0" animBg="1"/>
      <p:bldP spid="65" grpId="0" animBg="1"/>
      <p:bldP spid="66" grpId="0" animBg="1"/>
      <p:bldP spid="38" grpId="0" animBg="1"/>
      <p:bldP spid="39" grpId="0" animBg="1"/>
      <p:bldP spid="40" grpId="0" animBg="1"/>
      <p:bldP spid="41" grpId="0" animBg="1"/>
      <p:bldP spid="43" grpId="0" animBg="1"/>
      <p:bldP spid="4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62EBF0-9017-4F02-A5BF-883C7D2B0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On-Premises Mailbox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CC149E3-33D1-40A3-BA0E-AAF143934F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at does not work?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F50178B-4696-461E-BF02-0ABEC5D0F6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ccess to personal contacts</a:t>
            </a:r>
          </a:p>
          <a:p>
            <a:r>
              <a:rPr lang="en-US" dirty="0"/>
              <a:t>Access to other calendars in your mailbox</a:t>
            </a:r>
          </a:p>
          <a:p>
            <a:r>
              <a:rPr lang="en-US" dirty="0"/>
              <a:t>To do and Bookings work with an Exchange Online mailbox online only</a:t>
            </a:r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1B9426B-B8D9-4C2B-8955-4A521E67EC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067" y="3429000"/>
            <a:ext cx="8038095" cy="441904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B482E7CA-B96A-4D3B-A110-839EF7BFE757}"/>
              </a:ext>
            </a:extLst>
          </p:cNvPr>
          <p:cNvSpPr/>
          <p:nvPr/>
        </p:nvSpPr>
        <p:spPr>
          <a:xfrm>
            <a:off x="2283067" y="3898785"/>
            <a:ext cx="8038095" cy="1125415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6371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ADB25ED-3906-4D9E-8557-A35C93D000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1842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7846D10F-9A17-4410-A6F4-E8815B40F7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983" y="1150143"/>
            <a:ext cx="3600813" cy="125987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EB6BCC1-D208-429D-961C-DDB9CAD40B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1087" y="2851018"/>
            <a:ext cx="7520113" cy="115596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545225E-8BAB-4CAD-9F54-371107B071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0170" y="4564505"/>
            <a:ext cx="2208808" cy="169388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45D4D9E6-862D-4F8A-9453-1CF5E66A36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161" y="5803204"/>
            <a:ext cx="1525080" cy="101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635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ADB25ED-3906-4D9E-8557-A35C93D000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1706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62EBF0-9017-4F02-A5BF-883C7D2B0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ssources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CC149E3-33D1-40A3-BA0E-AAF143934F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F50178B-4696-461E-BF02-0ABEC5D0F6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Requirements to create and view meetings for mailboxes hosted on-premises</a:t>
            </a:r>
            <a:endParaRPr lang="en-US" dirty="0"/>
          </a:p>
          <a:p>
            <a:r>
              <a:rPr lang="en-US" dirty="0">
                <a:hlinkClick r:id="rId3"/>
              </a:rPr>
              <a:t>How do you configure OAuth authentication between your on-premises Exchange and Exchange Online organizations?</a:t>
            </a:r>
            <a:endParaRPr lang="en-US" dirty="0"/>
          </a:p>
          <a:p>
            <a:r>
              <a:rPr lang="en-US" dirty="0">
                <a:hlinkClick r:id="rId4"/>
              </a:rPr>
              <a:t>Use log files to monitor and troubleshoot Microsoft Teams</a:t>
            </a:r>
            <a:endParaRPr lang="en-US" dirty="0"/>
          </a:p>
          <a:p>
            <a:r>
              <a:rPr lang="en-US" dirty="0">
                <a:hlinkClick r:id="rId5"/>
              </a:rPr>
              <a:t>My user has a mailbox both on-premises and in Exchange Online. Help!</a:t>
            </a:r>
            <a:endParaRPr lang="en-US" dirty="0"/>
          </a:p>
          <a:p>
            <a:r>
              <a:rPr lang="en-US" dirty="0">
                <a:hlinkClick r:id="rId6"/>
              </a:rPr>
              <a:t>Troubleshoot Microsoft Teams and Exchange Server interaction issues</a:t>
            </a: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975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7846D10F-9A17-4410-A6F4-E8815B40F7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983" y="1150143"/>
            <a:ext cx="3600813" cy="125987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EB6BCC1-D208-429D-961C-DDB9CAD40B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1087" y="2851018"/>
            <a:ext cx="7520113" cy="115596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545225E-8BAB-4CAD-9F54-371107B071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0170" y="4564505"/>
            <a:ext cx="2208808" cy="169388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45D4D9E6-862D-4F8A-9453-1CF5E66A36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161" y="5803204"/>
            <a:ext cx="1525080" cy="101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46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5F6780-642A-42ED-AB56-D47FDB5B2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B3574BB-9A1A-45C2-8B6D-609C2D276C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15734D9-F780-4CC2-9DF6-005293538F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6255" y="1520890"/>
            <a:ext cx="5579745" cy="46560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kern="0" dirty="0"/>
              <a:t>Thomas Stensitzki</a:t>
            </a:r>
          </a:p>
          <a:p>
            <a:pPr marL="0" indent="0">
              <a:buNone/>
            </a:pPr>
            <a:r>
              <a:rPr lang="en-US" sz="2000" kern="0" dirty="0"/>
              <a:t>Enterprise Consultant</a:t>
            </a:r>
            <a:br>
              <a:rPr lang="en-US" sz="2000" kern="0" dirty="0"/>
            </a:br>
            <a:r>
              <a:rPr lang="en-US" sz="2000" kern="0" dirty="0"/>
              <a:t>Granikos GmbH &amp; Co. KG</a:t>
            </a:r>
            <a:br>
              <a:rPr lang="en-US" sz="2000" kern="0" dirty="0"/>
            </a:br>
            <a:br>
              <a:rPr lang="en-US" sz="2000" kern="0" dirty="0"/>
            </a:br>
            <a:r>
              <a:rPr lang="en-US" sz="2000" kern="0" dirty="0"/>
              <a:t>MVP |MCSM | MCT Regional Lead </a:t>
            </a:r>
            <a:br>
              <a:rPr lang="en-US" sz="2000" kern="0" dirty="0"/>
            </a:br>
            <a:br>
              <a:rPr lang="en-US" sz="2000" kern="0" dirty="0"/>
            </a:br>
            <a:br>
              <a:rPr lang="en-US" sz="2000" kern="0" dirty="0"/>
            </a:br>
            <a:br>
              <a:rPr lang="en-US" sz="2000" kern="0" dirty="0"/>
            </a:br>
            <a:br>
              <a:rPr lang="en-US" sz="2000" kern="0" dirty="0"/>
            </a:br>
            <a:r>
              <a:rPr lang="en-US" sz="2000" kern="0" dirty="0"/>
              <a:t>@stensitzki</a:t>
            </a:r>
            <a:br>
              <a:rPr lang="en-US" sz="2000" kern="0" dirty="0"/>
            </a:br>
            <a:r>
              <a:rPr lang="en-US" sz="2000" kern="0" dirty="0">
                <a:hlinkClick r:id="rId3"/>
              </a:rPr>
              <a:t>thomas.stensitzki@granikos.eu</a:t>
            </a:r>
            <a:r>
              <a:rPr lang="en-US" sz="2000" kern="0" dirty="0"/>
              <a:t> </a:t>
            </a:r>
          </a:p>
          <a:p>
            <a:pPr marL="0" indent="0">
              <a:buNone/>
            </a:pPr>
            <a:endParaRPr lang="en-US" sz="2000" kern="0" dirty="0"/>
          </a:p>
          <a:p>
            <a:pPr marL="0" indent="0">
              <a:buNone/>
            </a:pPr>
            <a:r>
              <a:rPr lang="en-US" sz="2000" kern="0" dirty="0">
                <a:hlinkClick r:id="rId4"/>
              </a:rPr>
              <a:t>https://www.linkedin.com/in/thomasstensitzki</a:t>
            </a:r>
            <a:r>
              <a:rPr lang="en-US" sz="2000" kern="0" dirty="0"/>
              <a:t> </a:t>
            </a:r>
          </a:p>
        </p:txBody>
      </p:sp>
      <p:pic>
        <p:nvPicPr>
          <p:cNvPr id="11" name="Grafik 10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DE0E1E80-8730-462E-831E-20E5E09CF6D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547" y="1520890"/>
            <a:ext cx="1726913" cy="696744"/>
          </a:xfrm>
          <a:prstGeom prst="rect">
            <a:avLst/>
          </a:prstGeom>
        </p:spPr>
      </p:pic>
      <p:pic>
        <p:nvPicPr>
          <p:cNvPr id="6" name="Grafik 5" descr="Ein Bild, das Screenshot, Text enthält.&#10;&#10;Automatisch generierte Beschreibung">
            <a:hlinkClick r:id="rId6"/>
            <a:extLst>
              <a:ext uri="{FF2B5EF4-FFF2-40B4-BE49-F238E27FC236}">
                <a16:creationId xmlns:a16="http://schemas.microsoft.com/office/drawing/2014/main" id="{95216D17-E301-459B-A434-100D7D50CC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477" y="3965331"/>
            <a:ext cx="1902250" cy="27010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Grafik 6">
            <a:hlinkClick r:id="rId8"/>
            <a:extLst>
              <a:ext uri="{FF2B5EF4-FFF2-40B4-BE49-F238E27FC236}">
                <a16:creationId xmlns:a16="http://schemas.microsoft.com/office/drawing/2014/main" id="{FC855892-EB58-4269-8A9D-5BA17D0D4F6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36293" y="3965331"/>
            <a:ext cx="2121968" cy="27010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388831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0C623BE-F2A4-4533-A1A9-91CF237E6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On-Premises Mailbox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98BD0FF-23BA-4749-AAD8-3970D867F2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y would you do that?</a:t>
            </a:r>
          </a:p>
        </p:txBody>
      </p:sp>
    </p:spTree>
    <p:extLst>
      <p:ext uri="{BB962C8B-B14F-4D97-AF65-F5344CB8AC3E}">
        <p14:creationId xmlns:p14="http://schemas.microsoft.com/office/powerpoint/2010/main" val="8261337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26602B0E-8DB9-4597-90FA-9A97A8C96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On-Premises Mailbox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EBE618-CE97-42A2-BC81-CCAE800CEB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y would you do that?</a:t>
            </a:r>
          </a:p>
          <a:p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80A521FF-F359-4C69-BB72-D04E77E6BD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Compliance</a:t>
            </a:r>
            <a:r>
              <a:rPr lang="en-US" dirty="0"/>
              <a:t> or </a:t>
            </a:r>
            <a:r>
              <a:rPr lang="en-US" b="1" dirty="0"/>
              <a:t>regulatory</a:t>
            </a:r>
            <a:r>
              <a:rPr lang="en-US" dirty="0"/>
              <a:t> requirements for keeping mailboxes in on-premises Exchange Organization</a:t>
            </a:r>
          </a:p>
          <a:p>
            <a:pPr lvl="1"/>
            <a:r>
              <a:rPr lang="en-US" dirty="0"/>
              <a:t>Regulatory </a:t>
            </a:r>
            <a:r>
              <a:rPr lang="en-US" dirty="0">
                <a:sym typeface="Wingdings" panose="05000000000000000000" pitchFamily="2" charset="2"/>
              </a:rPr>
              <a:t> Financial Industry, Energy Sector, Lawyer’s Office, Critical Infrastructure, …</a:t>
            </a:r>
            <a:endParaRPr lang="en-US" dirty="0"/>
          </a:p>
          <a:p>
            <a:pPr lvl="1"/>
            <a:r>
              <a:rPr lang="en-US" dirty="0"/>
              <a:t>Contractual agreements with customers</a:t>
            </a:r>
          </a:p>
          <a:p>
            <a:pPr lvl="1"/>
            <a:r>
              <a:rPr lang="en-US" dirty="0"/>
              <a:t>Email Backup requirements</a:t>
            </a:r>
          </a:p>
          <a:p>
            <a:pPr lvl="1"/>
            <a:r>
              <a:rPr lang="en-US" dirty="0"/>
              <a:t>…</a:t>
            </a:r>
            <a:br>
              <a:rPr lang="en-US" dirty="0"/>
            </a:br>
            <a:endParaRPr lang="en-US" dirty="0"/>
          </a:p>
          <a:p>
            <a:r>
              <a:rPr lang="en-US" dirty="0"/>
              <a:t>Trust issues with Microsoft as a cloud provider</a:t>
            </a:r>
          </a:p>
          <a:p>
            <a:pPr marL="534831" lvl="1" indent="0">
              <a:buNone/>
            </a:pPr>
            <a:r>
              <a:rPr lang="en-US" dirty="0">
                <a:sym typeface="Wingdings" panose="05000000000000000000" pitchFamily="2" charset="2"/>
              </a:rPr>
              <a:t> Is cloud the right solution for your business?</a:t>
            </a:r>
            <a:br>
              <a:rPr lang="en-US" dirty="0">
                <a:sym typeface="Wingdings" panose="05000000000000000000" pitchFamily="2" charset="2"/>
              </a:rPr>
            </a:br>
            <a:endParaRPr lang="en-US" dirty="0"/>
          </a:p>
          <a:p>
            <a:r>
              <a:rPr lang="en-US" dirty="0"/>
              <a:t>…</a:t>
            </a:r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03A9387-F37A-412A-8BE8-3F008235BEB8}"/>
              </a:ext>
            </a:extLst>
          </p:cNvPr>
          <p:cNvGrpSpPr/>
          <p:nvPr/>
        </p:nvGrpSpPr>
        <p:grpSpPr>
          <a:xfrm>
            <a:off x="2872846" y="5035903"/>
            <a:ext cx="6444719" cy="1536097"/>
            <a:chOff x="2872846" y="5035903"/>
            <a:chExt cx="6444719" cy="1536097"/>
          </a:xfrm>
        </p:grpSpPr>
        <p:sp>
          <p:nvSpPr>
            <p:cNvPr id="2" name="Rechteck: diagonal liegende Ecken abgeschnitten 1">
              <a:extLst>
                <a:ext uri="{FF2B5EF4-FFF2-40B4-BE49-F238E27FC236}">
                  <a16:creationId xmlns:a16="http://schemas.microsoft.com/office/drawing/2014/main" id="{87B5D864-A53E-4C77-8FBC-B7FD5C63CF5C}"/>
                </a:ext>
              </a:extLst>
            </p:cNvPr>
            <p:cNvSpPr/>
            <p:nvPr/>
          </p:nvSpPr>
          <p:spPr>
            <a:xfrm>
              <a:off x="2872846" y="5035903"/>
              <a:ext cx="6444719" cy="1536097"/>
            </a:xfrm>
            <a:prstGeom prst="snip2Diag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What are your requirements for keeping mailboxes </a:t>
              </a:r>
              <a:br>
                <a:rPr lang="en-US" dirty="0"/>
              </a:br>
              <a:r>
                <a:rPr lang="en-US" dirty="0"/>
                <a:t>in an on-premises Exchange Organization?</a:t>
              </a:r>
            </a:p>
          </p:txBody>
        </p:sp>
        <p:pic>
          <p:nvPicPr>
            <p:cNvPr id="4" name="Grafik 3" descr="Fragen mit einfarbiger Füllung">
              <a:extLst>
                <a:ext uri="{FF2B5EF4-FFF2-40B4-BE49-F238E27FC236}">
                  <a16:creationId xmlns:a16="http://schemas.microsoft.com/office/drawing/2014/main" id="{D0135DFE-3DBF-44BE-9D4E-7132EEB612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300523" y="5532771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743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 bldLvl="2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3F43550-18A8-47B0-B51E-2190B73DA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On-Premises Mailbox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C88574D-CA84-4E42-8813-9B789252AD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at are we talking about?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DC18DE1-97A4-449E-9CDE-DCF366D12E0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en-US" dirty="0"/>
              <a:t>Personal calendar access</a:t>
            </a:r>
          </a:p>
          <a:p>
            <a:r>
              <a:rPr lang="en-US" dirty="0"/>
              <a:t>Delegate Access</a:t>
            </a:r>
          </a:p>
          <a:p>
            <a:r>
              <a:rPr lang="en-US" dirty="0"/>
              <a:t>Calendar-based Presence Status</a:t>
            </a:r>
          </a:p>
          <a:p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92366DF-5CA1-46B6-83F9-FD6282CBFE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3417" y="1814775"/>
            <a:ext cx="6746996" cy="339458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428134C3-F30E-4F38-9C47-1F0BA96CE88F}"/>
              </a:ext>
            </a:extLst>
          </p:cNvPr>
          <p:cNvSpPr/>
          <p:nvPr/>
        </p:nvSpPr>
        <p:spPr>
          <a:xfrm>
            <a:off x="5683623" y="1972235"/>
            <a:ext cx="6506789" cy="3237123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B0116A8-E527-4AB9-B143-19FB34B22E1D}"/>
              </a:ext>
            </a:extLst>
          </p:cNvPr>
          <p:cNvSpPr/>
          <p:nvPr/>
        </p:nvSpPr>
        <p:spPr>
          <a:xfrm>
            <a:off x="5443417" y="2510118"/>
            <a:ext cx="240205" cy="318922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3865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  <p:bldP spid="11" grpId="0" animBg="1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26602B0E-8DB9-4597-90FA-9A97A8C96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On-Premises Mailbox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BEBE618-CE97-42A2-BC81-CCAE800CEB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ow does calendar access work?</a:t>
            </a:r>
          </a:p>
          <a:p>
            <a:endParaRPr lang="en-US" dirty="0"/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B2C0495A-1F7E-4F2B-A7BD-53D47E1959BC}"/>
              </a:ext>
            </a:extLst>
          </p:cNvPr>
          <p:cNvSpPr/>
          <p:nvPr/>
        </p:nvSpPr>
        <p:spPr>
          <a:xfrm>
            <a:off x="8262304" y="2837191"/>
            <a:ext cx="1998585" cy="627511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Exchange Online</a:t>
            </a:r>
          </a:p>
        </p:txBody>
      </p:sp>
      <p:sp>
        <p:nvSpPr>
          <p:cNvPr id="11" name="Rectangle 60">
            <a:extLst>
              <a:ext uri="{FF2B5EF4-FFF2-40B4-BE49-F238E27FC236}">
                <a16:creationId xmlns:a16="http://schemas.microsoft.com/office/drawing/2014/main" id="{24BD08B3-8BCA-4A3D-A055-EA756BA9EDE9}"/>
              </a:ext>
            </a:extLst>
          </p:cNvPr>
          <p:cNvSpPr/>
          <p:nvPr/>
        </p:nvSpPr>
        <p:spPr>
          <a:xfrm>
            <a:off x="6209578" y="2613092"/>
            <a:ext cx="914400" cy="1075710"/>
          </a:xfrm>
          <a:prstGeom prst="rect">
            <a:avLst/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ams Backend Services</a:t>
            </a:r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B2B9E05E-60BD-4175-8316-0A0B9A2B6786}"/>
              </a:ext>
            </a:extLst>
          </p:cNvPr>
          <p:cNvSpPr/>
          <p:nvPr/>
        </p:nvSpPr>
        <p:spPr>
          <a:xfrm>
            <a:off x="2579347" y="1823313"/>
            <a:ext cx="1596112" cy="4435202"/>
          </a:xfrm>
          <a:prstGeom prst="roundRect">
            <a:avLst>
              <a:gd name="adj" fmla="val 0"/>
            </a:avLst>
          </a:prstGeom>
          <a:solidFill>
            <a:srgbClr val="FFFFFF">
              <a:lumMod val="85000"/>
            </a:srgbClr>
          </a:solidFill>
          <a:ln w="12700" cap="flat" cmpd="sng" algn="ctr">
            <a:solidFill>
              <a:srgbClr val="737373"/>
            </a:solidFill>
            <a:prstDash val="solid"/>
            <a:miter lim="8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t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Segoe UI"/>
                <a:cs typeface="Segoe UI Light" panose="020B0502040204020203" pitchFamily="34" charset="0"/>
              </a:rPr>
              <a:t>Teams Clients</a:t>
            </a:r>
          </a:p>
        </p:txBody>
      </p:sp>
      <p:sp>
        <p:nvSpPr>
          <p:cNvPr id="13" name="Rounded Rectangle 13">
            <a:extLst>
              <a:ext uri="{FF2B5EF4-FFF2-40B4-BE49-F238E27FC236}">
                <a16:creationId xmlns:a16="http://schemas.microsoft.com/office/drawing/2014/main" id="{A693F46A-5EB2-4F21-8F9B-A838954F4BFB}"/>
              </a:ext>
            </a:extLst>
          </p:cNvPr>
          <p:cNvSpPr/>
          <p:nvPr/>
        </p:nvSpPr>
        <p:spPr>
          <a:xfrm>
            <a:off x="2757655" y="2984554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sktop</a:t>
            </a:r>
          </a:p>
        </p:txBody>
      </p:sp>
      <p:sp>
        <p:nvSpPr>
          <p:cNvPr id="14" name="Rounded Rectangle 14">
            <a:extLst>
              <a:ext uri="{FF2B5EF4-FFF2-40B4-BE49-F238E27FC236}">
                <a16:creationId xmlns:a16="http://schemas.microsoft.com/office/drawing/2014/main" id="{893121B5-32D3-4DAE-89FE-F95B93A78339}"/>
              </a:ext>
            </a:extLst>
          </p:cNvPr>
          <p:cNvSpPr/>
          <p:nvPr/>
        </p:nvSpPr>
        <p:spPr>
          <a:xfrm>
            <a:off x="2765699" y="3782853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O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</a:t>
            </a:r>
          </a:p>
        </p:txBody>
      </p:sp>
      <p:sp>
        <p:nvSpPr>
          <p:cNvPr id="15" name="Rounded Rectangle 15">
            <a:extLst>
              <a:ext uri="{FF2B5EF4-FFF2-40B4-BE49-F238E27FC236}">
                <a16:creationId xmlns:a16="http://schemas.microsoft.com/office/drawing/2014/main" id="{FC60CA73-FCF2-43C1-A826-1ADEFF2E9F3A}"/>
              </a:ext>
            </a:extLst>
          </p:cNvPr>
          <p:cNvSpPr/>
          <p:nvPr/>
        </p:nvSpPr>
        <p:spPr>
          <a:xfrm>
            <a:off x="2765699" y="4581152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droid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</a:t>
            </a:r>
          </a:p>
        </p:txBody>
      </p:sp>
      <p:sp>
        <p:nvSpPr>
          <p:cNvPr id="16" name="Rounded Rectangle 12">
            <a:extLst>
              <a:ext uri="{FF2B5EF4-FFF2-40B4-BE49-F238E27FC236}">
                <a16:creationId xmlns:a16="http://schemas.microsoft.com/office/drawing/2014/main" id="{43E94604-08D4-45D7-AC0B-443F3F8E726E}"/>
              </a:ext>
            </a:extLst>
          </p:cNvPr>
          <p:cNvSpPr/>
          <p:nvPr/>
        </p:nvSpPr>
        <p:spPr>
          <a:xfrm>
            <a:off x="2765699" y="2182175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eb</a:t>
            </a:r>
          </a:p>
        </p:txBody>
      </p:sp>
      <p:sp>
        <p:nvSpPr>
          <p:cNvPr id="17" name="Rounded Rectangle 15">
            <a:extLst>
              <a:ext uri="{FF2B5EF4-FFF2-40B4-BE49-F238E27FC236}">
                <a16:creationId xmlns:a16="http://schemas.microsoft.com/office/drawing/2014/main" id="{9BA7ED5C-7D63-4D95-B7D0-AF6F2DD0F049}"/>
              </a:ext>
            </a:extLst>
          </p:cNvPr>
          <p:cNvSpPr/>
          <p:nvPr/>
        </p:nvSpPr>
        <p:spPr>
          <a:xfrm>
            <a:off x="2765699" y="5379451"/>
            <a:ext cx="1239496" cy="640080"/>
          </a:xfrm>
          <a:prstGeom prst="roundRect">
            <a:avLst>
              <a:gd name="adj" fmla="val 0"/>
            </a:avLst>
          </a:prstGeom>
          <a:solidFill>
            <a:srgbClr val="464775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1EFE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raph API</a:t>
            </a:r>
          </a:p>
        </p:txBody>
      </p:sp>
      <p:cxnSp>
        <p:nvCxnSpPr>
          <p:cNvPr id="18" name="Straight Connector 104">
            <a:extLst>
              <a:ext uri="{FF2B5EF4-FFF2-40B4-BE49-F238E27FC236}">
                <a16:creationId xmlns:a16="http://schemas.microsoft.com/office/drawing/2014/main" id="{BE17F541-17CB-4735-8C47-685D17CC3B50}"/>
              </a:ext>
            </a:extLst>
          </p:cNvPr>
          <p:cNvCxnSpPr>
            <a:cxnSpLocks/>
            <a:stCxn id="11" idx="1"/>
          </p:cNvCxnSpPr>
          <p:nvPr/>
        </p:nvCxnSpPr>
        <p:spPr>
          <a:xfrm flipH="1">
            <a:off x="4175459" y="3150947"/>
            <a:ext cx="2034119" cy="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cxnSp>
        <p:nvCxnSpPr>
          <p:cNvPr id="19" name="Straight Connector 104">
            <a:extLst>
              <a:ext uri="{FF2B5EF4-FFF2-40B4-BE49-F238E27FC236}">
                <a16:creationId xmlns:a16="http://schemas.microsoft.com/office/drawing/2014/main" id="{0892E4E9-9F37-46D5-B63A-BDD7BE17AEC7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7123978" y="3150947"/>
            <a:ext cx="1138326" cy="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sp>
        <p:nvSpPr>
          <p:cNvPr id="20" name="Rectangle 7">
            <a:extLst>
              <a:ext uri="{FF2B5EF4-FFF2-40B4-BE49-F238E27FC236}">
                <a16:creationId xmlns:a16="http://schemas.microsoft.com/office/drawing/2014/main" id="{75BC261B-60C4-440C-BEC8-5AD614BF26DD}"/>
              </a:ext>
            </a:extLst>
          </p:cNvPr>
          <p:cNvSpPr/>
          <p:nvPr/>
        </p:nvSpPr>
        <p:spPr>
          <a:xfrm>
            <a:off x="5679077" y="4862942"/>
            <a:ext cx="1998585" cy="485063"/>
          </a:xfrm>
          <a:prstGeom prst="rect">
            <a:avLst/>
          </a:prstGeom>
          <a:solidFill>
            <a:srgbClr val="2F2F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Exchange On-Premises</a:t>
            </a:r>
          </a:p>
        </p:txBody>
      </p:sp>
      <p:cxnSp>
        <p:nvCxnSpPr>
          <p:cNvPr id="21" name="Straight Connector 104">
            <a:extLst>
              <a:ext uri="{FF2B5EF4-FFF2-40B4-BE49-F238E27FC236}">
                <a16:creationId xmlns:a16="http://schemas.microsoft.com/office/drawing/2014/main" id="{B6D9D9D0-4AA1-4016-B3F6-F49CD2D136E2}"/>
              </a:ext>
            </a:extLst>
          </p:cNvPr>
          <p:cNvCxnSpPr>
            <a:cxnSpLocks/>
            <a:stCxn id="20" idx="0"/>
            <a:endCxn id="11" idx="2"/>
          </p:cNvCxnSpPr>
          <p:nvPr/>
        </p:nvCxnSpPr>
        <p:spPr>
          <a:xfrm flipH="1" flipV="1">
            <a:off x="6666778" y="3688802"/>
            <a:ext cx="11592" cy="117414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cxnSp>
        <p:nvCxnSpPr>
          <p:cNvPr id="22" name="Straight Connector 104">
            <a:extLst>
              <a:ext uri="{FF2B5EF4-FFF2-40B4-BE49-F238E27FC236}">
                <a16:creationId xmlns:a16="http://schemas.microsoft.com/office/drawing/2014/main" id="{8D7A3AC1-3964-4972-A72C-80225E753031}"/>
              </a:ext>
            </a:extLst>
          </p:cNvPr>
          <p:cNvCxnSpPr>
            <a:cxnSpLocks/>
            <a:stCxn id="20" idx="2"/>
          </p:cNvCxnSpPr>
          <p:nvPr/>
        </p:nvCxnSpPr>
        <p:spPr>
          <a:xfrm>
            <a:off x="6678370" y="5348005"/>
            <a:ext cx="0" cy="240200"/>
          </a:xfrm>
          <a:prstGeom prst="line">
            <a:avLst/>
          </a:prstGeom>
          <a:noFill/>
          <a:ln w="12700" cap="flat" cmpd="sng" algn="ctr">
            <a:solidFill>
              <a:srgbClr val="2F2F2F"/>
            </a:solidFill>
            <a:prstDash val="sysDash"/>
            <a:miter lim="800000"/>
          </a:ln>
          <a:effectLst/>
        </p:spPr>
      </p:cxnSp>
      <p:pic>
        <p:nvPicPr>
          <p:cNvPr id="23" name="Grafik 22">
            <a:extLst>
              <a:ext uri="{FF2B5EF4-FFF2-40B4-BE49-F238E27FC236}">
                <a16:creationId xmlns:a16="http://schemas.microsoft.com/office/drawing/2014/main" id="{3F01C4F3-4F3B-41AC-A030-B02EC75ED0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7137" y="5347066"/>
            <a:ext cx="390525" cy="352425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3661BAA-1D39-4A03-B88F-066A26063F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6419" y="5562318"/>
            <a:ext cx="723900" cy="600075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EB2CA576-2427-45AB-A22B-5F623703F4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1444" y="5948080"/>
            <a:ext cx="400050" cy="428625"/>
          </a:xfrm>
          <a:prstGeom prst="rect">
            <a:avLst/>
          </a:prstGeom>
        </p:spPr>
      </p:pic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424B51CF-2193-4A70-86A5-C9DB7D494C20}"/>
              </a:ext>
            </a:extLst>
          </p:cNvPr>
          <p:cNvCxnSpPr/>
          <p:nvPr/>
        </p:nvCxnSpPr>
        <p:spPr>
          <a:xfrm>
            <a:off x="7152736" y="3020751"/>
            <a:ext cx="108081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A81B87FF-B7E9-4F65-B4A7-0BD1AD283C06}"/>
              </a:ext>
            </a:extLst>
          </p:cNvPr>
          <p:cNvCxnSpPr>
            <a:cxnSpLocks/>
          </p:cNvCxnSpPr>
          <p:nvPr/>
        </p:nvCxnSpPr>
        <p:spPr>
          <a:xfrm>
            <a:off x="6486076" y="3688802"/>
            <a:ext cx="0" cy="117414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FDBDD808-2330-4089-BD4B-70D77E43172E}"/>
              </a:ext>
            </a:extLst>
          </p:cNvPr>
          <p:cNvCxnSpPr>
            <a:cxnSpLocks/>
          </p:cNvCxnSpPr>
          <p:nvPr/>
        </p:nvCxnSpPr>
        <p:spPr>
          <a:xfrm>
            <a:off x="6846698" y="3688802"/>
            <a:ext cx="0" cy="1174141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C5ED4FAD-1164-48EE-9A92-B59B8A1056F0}"/>
              </a:ext>
            </a:extLst>
          </p:cNvPr>
          <p:cNvSpPr txBox="1"/>
          <p:nvPr/>
        </p:nvSpPr>
        <p:spPr>
          <a:xfrm>
            <a:off x="7074500" y="2461575"/>
            <a:ext cx="11878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solidFill>
                  <a:schemeClr val="accent2"/>
                </a:solidFill>
              </a:rPr>
              <a:t>AutoDiscove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E45C1273-31F9-44DB-95D1-01453CA2B106}"/>
              </a:ext>
            </a:extLst>
          </p:cNvPr>
          <p:cNvSpPr txBox="1"/>
          <p:nvPr/>
        </p:nvSpPr>
        <p:spPr>
          <a:xfrm rot="16200000">
            <a:off x="5791238" y="4063126"/>
            <a:ext cx="11878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solidFill>
                  <a:schemeClr val="accent2"/>
                </a:solidFill>
              </a:rPr>
              <a:t>AutoDiscover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3D637EF9-E985-4EA9-9B42-ED757D61EC49}"/>
              </a:ext>
            </a:extLst>
          </p:cNvPr>
          <p:cNvSpPr txBox="1"/>
          <p:nvPr/>
        </p:nvSpPr>
        <p:spPr>
          <a:xfrm rot="16200000">
            <a:off x="6351167" y="4103665"/>
            <a:ext cx="11878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solidFill>
                  <a:schemeClr val="accent5"/>
                </a:solidFill>
              </a:rPr>
              <a:t>EWS / REST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EA935BF7-4C4E-4C23-AFA0-7BB2559B5D5B}"/>
              </a:ext>
            </a:extLst>
          </p:cNvPr>
          <p:cNvSpPr txBox="1"/>
          <p:nvPr/>
        </p:nvSpPr>
        <p:spPr>
          <a:xfrm>
            <a:off x="7074500" y="3085136"/>
            <a:ext cx="11878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2"/>
                </a:solidFill>
              </a:rPr>
              <a:t>302 HTTP</a:t>
            </a:r>
            <a:br>
              <a:rPr lang="de-DE" sz="1200" b="1" dirty="0">
                <a:solidFill>
                  <a:schemeClr val="accent2"/>
                </a:solidFill>
              </a:rPr>
            </a:br>
            <a:r>
              <a:rPr lang="de-DE" sz="1200" b="1" dirty="0">
                <a:solidFill>
                  <a:schemeClr val="accent2"/>
                </a:solidFill>
              </a:rPr>
              <a:t>Redirect</a:t>
            </a:r>
          </a:p>
        </p:txBody>
      </p:sp>
      <p:pic>
        <p:nvPicPr>
          <p:cNvPr id="33" name="Grafik 32" descr="Marke 1 mit einfarbiger Füllung">
            <a:extLst>
              <a:ext uri="{FF2B5EF4-FFF2-40B4-BE49-F238E27FC236}">
                <a16:creationId xmlns:a16="http://schemas.microsoft.com/office/drawing/2014/main" id="{08A5429F-EB7D-49A8-937F-2E5A6F5D22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65896" y="2519040"/>
            <a:ext cx="392815" cy="392815"/>
          </a:xfrm>
          <a:prstGeom prst="rect">
            <a:avLst/>
          </a:prstGeom>
        </p:spPr>
      </p:pic>
      <p:pic>
        <p:nvPicPr>
          <p:cNvPr id="34" name="Grafik 33" descr="Abzeichen mit einfarbiger Füllung">
            <a:extLst>
              <a:ext uri="{FF2B5EF4-FFF2-40B4-BE49-F238E27FC236}">
                <a16:creationId xmlns:a16="http://schemas.microsoft.com/office/drawing/2014/main" id="{313AC232-6FB9-4579-8B0F-9D0E3DA7A0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88174" y="4534302"/>
            <a:ext cx="397362" cy="397362"/>
          </a:xfrm>
          <a:prstGeom prst="rect">
            <a:avLst/>
          </a:prstGeom>
        </p:spPr>
      </p:pic>
      <p:pic>
        <p:nvPicPr>
          <p:cNvPr id="35" name="Grafik 34" descr="Marke 3 mit einfarbiger Füllung">
            <a:extLst>
              <a:ext uri="{FF2B5EF4-FFF2-40B4-BE49-F238E27FC236}">
                <a16:creationId xmlns:a16="http://schemas.microsoft.com/office/drawing/2014/main" id="{9F12B427-16F1-4128-8619-2EB4C580FD3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954054" y="4538354"/>
            <a:ext cx="397363" cy="397363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3A42D925-8AA7-488D-893E-9A007A0EAD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1975" y="3782853"/>
            <a:ext cx="723900" cy="600075"/>
          </a:xfrm>
          <a:prstGeom prst="rect">
            <a:avLst/>
          </a:prstGeom>
        </p:spPr>
      </p:pic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2659A548-4F8D-40B5-B137-52D084EDA0A6}"/>
              </a:ext>
            </a:extLst>
          </p:cNvPr>
          <p:cNvCxnSpPr>
            <a:cxnSpLocks/>
          </p:cNvCxnSpPr>
          <p:nvPr/>
        </p:nvCxnSpPr>
        <p:spPr>
          <a:xfrm>
            <a:off x="4175459" y="3020751"/>
            <a:ext cx="2034119" cy="0"/>
          </a:xfrm>
          <a:prstGeom prst="straightConnector1">
            <a:avLst/>
          </a:prstGeom>
          <a:ln>
            <a:solidFill>
              <a:srgbClr val="464775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7" name="Rectangle 7">
            <a:extLst>
              <a:ext uri="{FF2B5EF4-FFF2-40B4-BE49-F238E27FC236}">
                <a16:creationId xmlns:a16="http://schemas.microsoft.com/office/drawing/2014/main" id="{F032A098-41FB-4FBB-A5D2-5232BEB9394A}"/>
              </a:ext>
            </a:extLst>
          </p:cNvPr>
          <p:cNvSpPr/>
          <p:nvPr/>
        </p:nvSpPr>
        <p:spPr>
          <a:xfrm>
            <a:off x="8755764" y="3304594"/>
            <a:ext cx="1011663" cy="541475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>
              <a:defRPr/>
            </a:pPr>
            <a:r>
              <a:rPr lang="en-US" sz="1200" kern="0" dirty="0">
                <a:solidFill>
                  <a:prstClr val="white"/>
                </a:solidFill>
                <a:latin typeface="Segoe UI"/>
              </a:rPr>
              <a:t>Mail User Object</a:t>
            </a:r>
          </a:p>
        </p:txBody>
      </p:sp>
    </p:spTree>
    <p:extLst>
      <p:ext uri="{BB962C8B-B14F-4D97-AF65-F5344CB8AC3E}">
        <p14:creationId xmlns:p14="http://schemas.microsoft.com/office/powerpoint/2010/main" val="9453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  <p:bldP spid="31" grpId="0"/>
      <p:bldP spid="32" grpId="0"/>
      <p:bldP spid="3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8F1F85-D3E8-4132-A5AD-008DEEC23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On-Premises Mailbox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0F72FBA-9A5D-45D2-A09B-23B574844C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xchange Server Classic Full Hybrid</a:t>
            </a:r>
          </a:p>
          <a:p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9636EDD-A797-4F83-A94E-E0C31CCE6E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6252" y="1483952"/>
            <a:ext cx="5315187" cy="4320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000" dirty="0"/>
              <a:t>Active Directory Hybrid with Azure AD Connect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Option Exchange Hybrid activated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SMTP - On-Premises and Exchange Online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Separate hostname (e.g., smtp365.varunagroup.de) 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Additional public IP address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TLS certificate matching hostname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(A) Edge Transport Role in Perimeter Network 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(B) Direct inbound connection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HTTPS – Inbound to Client Access Endpoints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Published via Reverse Proxy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Additional public IP address (optional)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HTTPS – Outbound to Exchange Online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On-Premises Exchange Server to Exchange Online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Optional use of outbound Proxy Server</a:t>
            </a:r>
          </a:p>
          <a:p>
            <a:pPr>
              <a:spcAft>
                <a:spcPts val="600"/>
              </a:spcAft>
            </a:pPr>
            <a:endParaRPr lang="en-US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DB64AE43-020F-434B-9813-371B8654FAB3}"/>
              </a:ext>
            </a:extLst>
          </p:cNvPr>
          <p:cNvGrpSpPr/>
          <p:nvPr/>
        </p:nvGrpSpPr>
        <p:grpSpPr>
          <a:xfrm>
            <a:off x="6532873" y="5161279"/>
            <a:ext cx="3762869" cy="1099821"/>
            <a:chOff x="6532873" y="5161279"/>
            <a:chExt cx="3762869" cy="1099821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3570776A-9B18-401C-AFB4-49FB5C9CB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22646" y="5237208"/>
              <a:ext cx="771525" cy="752475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BD9FDF06-BEFB-4778-8985-AE98151D68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96670" y="5222920"/>
              <a:ext cx="809625" cy="781050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A1DD6A51-C498-4C9F-83E0-9DEA2EA4B9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408794" y="5237208"/>
              <a:ext cx="809625" cy="781050"/>
            </a:xfrm>
            <a:prstGeom prst="rect">
              <a:avLst/>
            </a:prstGeom>
          </p:spPr>
        </p:pic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A0C998E8-C253-441B-81A3-3669BE3F96C1}"/>
                </a:ext>
              </a:extLst>
            </p:cNvPr>
            <p:cNvSpPr/>
            <p:nvPr/>
          </p:nvSpPr>
          <p:spPr>
            <a:xfrm>
              <a:off x="6532873" y="5161279"/>
              <a:ext cx="3762869" cy="1099821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b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On-Premises Exchange Organization</a:t>
              </a:r>
            </a:p>
          </p:txBody>
        </p:sp>
      </p:grp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F39530C4-F23C-4006-806A-C905766B8F82}"/>
              </a:ext>
            </a:extLst>
          </p:cNvPr>
          <p:cNvSpPr/>
          <p:nvPr/>
        </p:nvSpPr>
        <p:spPr>
          <a:xfrm>
            <a:off x="5811520" y="1696721"/>
            <a:ext cx="6316321" cy="5034820"/>
          </a:xfrm>
          <a:prstGeom prst="round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485841"/>
                      <a:gd name="connsiteY0" fmla="*/ 702837 h 4216935"/>
                      <a:gd name="connsiteX1" fmla="*/ 702837 w 4485841"/>
                      <a:gd name="connsiteY1" fmla="*/ 0 h 4216935"/>
                      <a:gd name="connsiteX2" fmla="*/ 1277802 w 4485841"/>
                      <a:gd name="connsiteY2" fmla="*/ 0 h 4216935"/>
                      <a:gd name="connsiteX3" fmla="*/ 1760361 w 4485841"/>
                      <a:gd name="connsiteY3" fmla="*/ 0 h 4216935"/>
                      <a:gd name="connsiteX4" fmla="*/ 2212119 w 4485841"/>
                      <a:gd name="connsiteY4" fmla="*/ 0 h 4216935"/>
                      <a:gd name="connsiteX5" fmla="*/ 2756282 w 4485841"/>
                      <a:gd name="connsiteY5" fmla="*/ 0 h 4216935"/>
                      <a:gd name="connsiteX6" fmla="*/ 3238841 w 4485841"/>
                      <a:gd name="connsiteY6" fmla="*/ 0 h 4216935"/>
                      <a:gd name="connsiteX7" fmla="*/ 3783004 w 4485841"/>
                      <a:gd name="connsiteY7" fmla="*/ 0 h 4216935"/>
                      <a:gd name="connsiteX8" fmla="*/ 4485841 w 4485841"/>
                      <a:gd name="connsiteY8" fmla="*/ 702837 h 4216935"/>
                      <a:gd name="connsiteX9" fmla="*/ 4485841 w 4485841"/>
                      <a:gd name="connsiteY9" fmla="*/ 1208864 h 4216935"/>
                      <a:gd name="connsiteX10" fmla="*/ 4485841 w 4485841"/>
                      <a:gd name="connsiteY10" fmla="*/ 1771116 h 4216935"/>
                      <a:gd name="connsiteX11" fmla="*/ 4485841 w 4485841"/>
                      <a:gd name="connsiteY11" fmla="*/ 2333368 h 4216935"/>
                      <a:gd name="connsiteX12" fmla="*/ 4485841 w 4485841"/>
                      <a:gd name="connsiteY12" fmla="*/ 2867508 h 4216935"/>
                      <a:gd name="connsiteX13" fmla="*/ 4485841 w 4485841"/>
                      <a:gd name="connsiteY13" fmla="*/ 3514098 h 4216935"/>
                      <a:gd name="connsiteX14" fmla="*/ 3783004 w 4485841"/>
                      <a:gd name="connsiteY14" fmla="*/ 4216935 h 4216935"/>
                      <a:gd name="connsiteX15" fmla="*/ 3269643 w 4485841"/>
                      <a:gd name="connsiteY15" fmla="*/ 4216935 h 4216935"/>
                      <a:gd name="connsiteX16" fmla="*/ 2694678 w 4485841"/>
                      <a:gd name="connsiteY16" fmla="*/ 4216935 h 4216935"/>
                      <a:gd name="connsiteX17" fmla="*/ 2181317 w 4485841"/>
                      <a:gd name="connsiteY17" fmla="*/ 4216935 h 4216935"/>
                      <a:gd name="connsiteX18" fmla="*/ 1760361 w 4485841"/>
                      <a:gd name="connsiteY18" fmla="*/ 4216935 h 4216935"/>
                      <a:gd name="connsiteX19" fmla="*/ 1308603 w 4485841"/>
                      <a:gd name="connsiteY19" fmla="*/ 4216935 h 4216935"/>
                      <a:gd name="connsiteX20" fmla="*/ 702837 w 4485841"/>
                      <a:gd name="connsiteY20" fmla="*/ 4216935 h 4216935"/>
                      <a:gd name="connsiteX21" fmla="*/ 0 w 4485841"/>
                      <a:gd name="connsiteY21" fmla="*/ 3514098 h 4216935"/>
                      <a:gd name="connsiteX22" fmla="*/ 0 w 4485841"/>
                      <a:gd name="connsiteY22" fmla="*/ 3008071 h 4216935"/>
                      <a:gd name="connsiteX23" fmla="*/ 0 w 4485841"/>
                      <a:gd name="connsiteY23" fmla="*/ 2530157 h 4216935"/>
                      <a:gd name="connsiteX24" fmla="*/ 0 w 4485841"/>
                      <a:gd name="connsiteY24" fmla="*/ 2052242 h 4216935"/>
                      <a:gd name="connsiteX25" fmla="*/ 0 w 4485841"/>
                      <a:gd name="connsiteY25" fmla="*/ 1489990 h 4216935"/>
                      <a:gd name="connsiteX26" fmla="*/ 0 w 4485841"/>
                      <a:gd name="connsiteY26" fmla="*/ 702837 h 42169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4485841" h="4216935" extrusionOk="0">
                        <a:moveTo>
                          <a:pt x="0" y="702837"/>
                        </a:moveTo>
                        <a:cubicBezTo>
                          <a:pt x="-96001" y="255455"/>
                          <a:pt x="266772" y="17977"/>
                          <a:pt x="702837" y="0"/>
                        </a:cubicBezTo>
                        <a:cubicBezTo>
                          <a:pt x="897927" y="-58606"/>
                          <a:pt x="1107915" y="48592"/>
                          <a:pt x="1277802" y="0"/>
                        </a:cubicBezTo>
                        <a:cubicBezTo>
                          <a:pt x="1447689" y="-48592"/>
                          <a:pt x="1653487" y="7522"/>
                          <a:pt x="1760361" y="0"/>
                        </a:cubicBezTo>
                        <a:cubicBezTo>
                          <a:pt x="1867235" y="-7522"/>
                          <a:pt x="2104838" y="34438"/>
                          <a:pt x="2212119" y="0"/>
                        </a:cubicBezTo>
                        <a:cubicBezTo>
                          <a:pt x="2319400" y="-34438"/>
                          <a:pt x="2502317" y="44956"/>
                          <a:pt x="2756282" y="0"/>
                        </a:cubicBezTo>
                        <a:cubicBezTo>
                          <a:pt x="3010247" y="-44956"/>
                          <a:pt x="3040101" y="36333"/>
                          <a:pt x="3238841" y="0"/>
                        </a:cubicBezTo>
                        <a:cubicBezTo>
                          <a:pt x="3437581" y="-36333"/>
                          <a:pt x="3594978" y="62382"/>
                          <a:pt x="3783004" y="0"/>
                        </a:cubicBezTo>
                        <a:cubicBezTo>
                          <a:pt x="4162388" y="-83747"/>
                          <a:pt x="4466563" y="341463"/>
                          <a:pt x="4485841" y="702837"/>
                        </a:cubicBezTo>
                        <a:cubicBezTo>
                          <a:pt x="4533611" y="845302"/>
                          <a:pt x="4432755" y="1103243"/>
                          <a:pt x="4485841" y="1208864"/>
                        </a:cubicBezTo>
                        <a:cubicBezTo>
                          <a:pt x="4538927" y="1314485"/>
                          <a:pt x="4477789" y="1649172"/>
                          <a:pt x="4485841" y="1771116"/>
                        </a:cubicBezTo>
                        <a:cubicBezTo>
                          <a:pt x="4493893" y="1893060"/>
                          <a:pt x="4450271" y="2184675"/>
                          <a:pt x="4485841" y="2333368"/>
                        </a:cubicBezTo>
                        <a:cubicBezTo>
                          <a:pt x="4521411" y="2482061"/>
                          <a:pt x="4447469" y="2629944"/>
                          <a:pt x="4485841" y="2867508"/>
                        </a:cubicBezTo>
                        <a:cubicBezTo>
                          <a:pt x="4524213" y="3105072"/>
                          <a:pt x="4446409" y="3313430"/>
                          <a:pt x="4485841" y="3514098"/>
                        </a:cubicBezTo>
                        <a:cubicBezTo>
                          <a:pt x="4496330" y="3889242"/>
                          <a:pt x="4109219" y="4192986"/>
                          <a:pt x="3783004" y="4216935"/>
                        </a:cubicBezTo>
                        <a:cubicBezTo>
                          <a:pt x="3664904" y="4222734"/>
                          <a:pt x="3373884" y="4216849"/>
                          <a:pt x="3269643" y="4216935"/>
                        </a:cubicBezTo>
                        <a:cubicBezTo>
                          <a:pt x="3165402" y="4217021"/>
                          <a:pt x="2980315" y="4168994"/>
                          <a:pt x="2694678" y="4216935"/>
                        </a:cubicBezTo>
                        <a:cubicBezTo>
                          <a:pt x="2409042" y="4264876"/>
                          <a:pt x="2340730" y="4173799"/>
                          <a:pt x="2181317" y="4216935"/>
                        </a:cubicBezTo>
                        <a:cubicBezTo>
                          <a:pt x="2021904" y="4260071"/>
                          <a:pt x="1900773" y="4195431"/>
                          <a:pt x="1760361" y="4216935"/>
                        </a:cubicBezTo>
                        <a:cubicBezTo>
                          <a:pt x="1619949" y="4238439"/>
                          <a:pt x="1424486" y="4194196"/>
                          <a:pt x="1308603" y="4216935"/>
                        </a:cubicBezTo>
                        <a:cubicBezTo>
                          <a:pt x="1192720" y="4239674"/>
                          <a:pt x="936750" y="4153641"/>
                          <a:pt x="702837" y="4216935"/>
                        </a:cubicBezTo>
                        <a:cubicBezTo>
                          <a:pt x="324586" y="4214837"/>
                          <a:pt x="1771" y="3919084"/>
                          <a:pt x="0" y="3514098"/>
                        </a:cubicBezTo>
                        <a:cubicBezTo>
                          <a:pt x="-48940" y="3262440"/>
                          <a:pt x="41589" y="3238493"/>
                          <a:pt x="0" y="3008071"/>
                        </a:cubicBezTo>
                        <a:cubicBezTo>
                          <a:pt x="-41589" y="2777649"/>
                          <a:pt x="38803" y="2670079"/>
                          <a:pt x="0" y="2530157"/>
                        </a:cubicBezTo>
                        <a:cubicBezTo>
                          <a:pt x="-38803" y="2390235"/>
                          <a:pt x="14977" y="2164964"/>
                          <a:pt x="0" y="2052242"/>
                        </a:cubicBezTo>
                        <a:cubicBezTo>
                          <a:pt x="-14977" y="1939520"/>
                          <a:pt x="45063" y="1624621"/>
                          <a:pt x="0" y="1489990"/>
                        </a:cubicBezTo>
                        <a:cubicBezTo>
                          <a:pt x="-45063" y="1355359"/>
                          <a:pt x="91104" y="939259"/>
                          <a:pt x="0" y="702837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vert="vert270" rtlCol="0" anchor="t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ybrid Configuration</a:t>
            </a: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4D2F872-BA35-4009-9EBA-81E4A102FD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08218" y="5222920"/>
            <a:ext cx="685800" cy="800100"/>
          </a:xfrm>
          <a:prstGeom prst="rect">
            <a:avLst/>
          </a:prstGeom>
        </p:spPr>
      </p:pic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8030142-0390-4036-927C-7A8ED0B8057C}"/>
              </a:ext>
            </a:extLst>
          </p:cNvPr>
          <p:cNvSpPr/>
          <p:nvPr/>
        </p:nvSpPr>
        <p:spPr>
          <a:xfrm>
            <a:off x="6390641" y="3625986"/>
            <a:ext cx="5412035" cy="1398276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b"/>
          <a:lstStyle/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imeter Network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2C9FB36F-8FA1-41FC-91DA-218D6FA887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96670" y="3902344"/>
            <a:ext cx="609600" cy="752475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5E2299D7-8B4A-4AB9-BD57-6D5A31BFC8DA}"/>
              </a:ext>
            </a:extLst>
          </p:cNvPr>
          <p:cNvGrpSpPr/>
          <p:nvPr/>
        </p:nvGrpSpPr>
        <p:grpSpPr>
          <a:xfrm>
            <a:off x="6390641" y="430900"/>
            <a:ext cx="5737200" cy="2110279"/>
            <a:chOff x="6390641" y="430900"/>
            <a:chExt cx="5737200" cy="2110279"/>
          </a:xfrm>
        </p:grpSpPr>
        <p:sp>
          <p:nvSpPr>
            <p:cNvPr id="17" name="Rechteck: abgerundete Ecken 16">
              <a:extLst>
                <a:ext uri="{FF2B5EF4-FFF2-40B4-BE49-F238E27FC236}">
                  <a16:creationId xmlns:a16="http://schemas.microsoft.com/office/drawing/2014/main" id="{18266FB6-04F5-4854-BC0A-025EE32B6853}"/>
                </a:ext>
              </a:extLst>
            </p:cNvPr>
            <p:cNvSpPr/>
            <p:nvPr/>
          </p:nvSpPr>
          <p:spPr>
            <a:xfrm>
              <a:off x="6390641" y="1104265"/>
              <a:ext cx="5412035" cy="1436914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t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icrosoft 365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DCD50DB8-2CBD-4C26-A295-D87E78CF7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485594" y="430900"/>
              <a:ext cx="1642247" cy="1075955"/>
            </a:xfrm>
            <a:prstGeom prst="rect">
              <a:avLst/>
            </a:prstGeom>
          </p:spPr>
        </p:pic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E14314E4-7271-4224-9CB7-60B3AEAFB0CC}"/>
                </a:ext>
              </a:extLst>
            </p:cNvPr>
            <p:cNvGrpSpPr/>
            <p:nvPr/>
          </p:nvGrpSpPr>
          <p:grpSpPr>
            <a:xfrm>
              <a:off x="6532874" y="1913171"/>
              <a:ext cx="3580287" cy="541110"/>
              <a:chOff x="8008278" y="2677302"/>
              <a:chExt cx="3580287" cy="541110"/>
            </a:xfrm>
          </p:grpSpPr>
          <p:sp>
            <p:nvSpPr>
              <p:cNvPr id="22" name="Rechteck: abgerundete Ecken 21">
                <a:extLst>
                  <a:ext uri="{FF2B5EF4-FFF2-40B4-BE49-F238E27FC236}">
                    <a16:creationId xmlns:a16="http://schemas.microsoft.com/office/drawing/2014/main" id="{DC13ABB3-2737-486C-BA87-90967E3868BE}"/>
                  </a:ext>
                </a:extLst>
              </p:cNvPr>
              <p:cNvSpPr/>
              <p:nvPr/>
            </p:nvSpPr>
            <p:spPr>
              <a:xfrm>
                <a:off x="8008278" y="2677302"/>
                <a:ext cx="3580287" cy="541110"/>
              </a:xfrm>
              <a:prstGeom prst="roundRect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0F6FC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6FC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Exchange Online</a:t>
                </a:r>
              </a:p>
            </p:txBody>
          </p:sp>
          <p:pic>
            <p:nvPicPr>
              <p:cNvPr id="21" name="Grafik 20">
                <a:extLst>
                  <a:ext uri="{FF2B5EF4-FFF2-40B4-BE49-F238E27FC236}">
                    <a16:creationId xmlns:a16="http://schemas.microsoft.com/office/drawing/2014/main" id="{074A8313-36F6-47C6-8329-ABFA32B5C6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786799" y="2806767"/>
                <a:ext cx="381000" cy="342900"/>
              </a:xfrm>
              <a:prstGeom prst="rect">
                <a:avLst/>
              </a:prstGeom>
            </p:spPr>
          </p:pic>
        </p:grpSp>
        <p:sp>
          <p:nvSpPr>
            <p:cNvPr id="20" name="Rechteck: abgerundete Ecken 19">
              <a:extLst>
                <a:ext uri="{FF2B5EF4-FFF2-40B4-BE49-F238E27FC236}">
                  <a16:creationId xmlns:a16="http://schemas.microsoft.com/office/drawing/2014/main" id="{ABFE629E-1FF3-490B-8D0B-E5EEAD8133CD}"/>
                </a:ext>
              </a:extLst>
            </p:cNvPr>
            <p:cNvSpPr/>
            <p:nvPr/>
          </p:nvSpPr>
          <p:spPr>
            <a:xfrm>
              <a:off x="10113161" y="1913171"/>
              <a:ext cx="1500582" cy="534912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zure AD</a:t>
              </a:r>
            </a:p>
          </p:txBody>
        </p:sp>
      </p:grpSp>
      <p:pic>
        <p:nvPicPr>
          <p:cNvPr id="24" name="Grafik 23">
            <a:extLst>
              <a:ext uri="{FF2B5EF4-FFF2-40B4-BE49-F238E27FC236}">
                <a16:creationId xmlns:a16="http://schemas.microsoft.com/office/drawing/2014/main" id="{9B8FF53E-B861-44DD-BF94-9C3F944D9A2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12477" y="3902344"/>
            <a:ext cx="771525" cy="752475"/>
          </a:xfrm>
          <a:prstGeom prst="rect">
            <a:avLst/>
          </a:prstGeom>
        </p:spPr>
      </p:pic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2D830BE5-96FE-4529-8993-9F708F192598}"/>
              </a:ext>
            </a:extLst>
          </p:cNvPr>
          <p:cNvCxnSpPr>
            <a:cxnSpLocks/>
          </p:cNvCxnSpPr>
          <p:nvPr/>
        </p:nvCxnSpPr>
        <p:spPr>
          <a:xfrm flipV="1">
            <a:off x="9619903" y="2448083"/>
            <a:ext cx="0" cy="1501617"/>
          </a:xfrm>
          <a:prstGeom prst="straightConnector1">
            <a:avLst/>
          </a:prstGeom>
          <a:noFill/>
          <a:ln w="38100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12310F31-D384-4496-BB1C-44B68930668B}"/>
              </a:ext>
            </a:extLst>
          </p:cNvPr>
          <p:cNvCxnSpPr>
            <a:cxnSpLocks/>
          </p:cNvCxnSpPr>
          <p:nvPr/>
        </p:nvCxnSpPr>
        <p:spPr>
          <a:xfrm flipV="1">
            <a:off x="8406002" y="2448083"/>
            <a:ext cx="0" cy="1501617"/>
          </a:xfrm>
          <a:prstGeom prst="straightConnector1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677B481F-46B9-4903-BBF4-57E97D920D71}"/>
              </a:ext>
            </a:extLst>
          </p:cNvPr>
          <p:cNvSpPr/>
          <p:nvPr/>
        </p:nvSpPr>
        <p:spPr>
          <a:xfrm>
            <a:off x="6390641" y="5034507"/>
            <a:ext cx="5412035" cy="1536700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b"/>
          <a:lstStyle/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srgbClr val="0F6FC6"/>
                </a:solidFill>
                <a:latin typeface="Segoe UI"/>
              </a:rPr>
              <a:t>Internal Network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F6FC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EE3E5E53-2BEE-4307-AEB6-4164E8AAEF7C}"/>
              </a:ext>
            </a:extLst>
          </p:cNvPr>
          <p:cNvCxnSpPr>
            <a:cxnSpLocks/>
          </p:cNvCxnSpPr>
          <p:nvPr/>
        </p:nvCxnSpPr>
        <p:spPr>
          <a:xfrm flipV="1">
            <a:off x="8412190" y="4654819"/>
            <a:ext cx="1" cy="506460"/>
          </a:xfrm>
          <a:prstGeom prst="straightConnector1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B0AFFEB7-810C-402A-B1F7-6195017D4D8C}"/>
              </a:ext>
            </a:extLst>
          </p:cNvPr>
          <p:cNvCxnSpPr>
            <a:cxnSpLocks/>
          </p:cNvCxnSpPr>
          <p:nvPr/>
        </p:nvCxnSpPr>
        <p:spPr>
          <a:xfrm flipV="1">
            <a:off x="9617052" y="4597400"/>
            <a:ext cx="7748" cy="563879"/>
          </a:xfrm>
          <a:prstGeom prst="straightConnector1">
            <a:avLst/>
          </a:prstGeom>
          <a:noFill/>
          <a:ln w="38100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EA521DD-F4F4-4707-AC70-AB1C41740AAC}"/>
              </a:ext>
            </a:extLst>
          </p:cNvPr>
          <p:cNvCxnSpPr>
            <a:cxnSpLocks/>
          </p:cNvCxnSpPr>
          <p:nvPr/>
        </p:nvCxnSpPr>
        <p:spPr>
          <a:xfrm flipH="1" flipV="1">
            <a:off x="9006295" y="2448083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DE4E858F-3ACA-41F9-937D-68CC1686FC3A}"/>
              </a:ext>
            </a:extLst>
          </p:cNvPr>
          <p:cNvCxnSpPr>
            <a:cxnSpLocks/>
          </p:cNvCxnSpPr>
          <p:nvPr/>
        </p:nvCxnSpPr>
        <p:spPr>
          <a:xfrm flipH="1" flipV="1">
            <a:off x="7792980" y="2464526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7BC83492-D67D-4063-A08F-5A3469F3DA49}"/>
              </a:ext>
            </a:extLst>
          </p:cNvPr>
          <p:cNvSpPr txBox="1"/>
          <p:nvPr/>
        </p:nvSpPr>
        <p:spPr>
          <a:xfrm rot="16200000">
            <a:off x="8788287" y="2964953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chemeClr val="accent4">
                    <a:lumMod val="75000"/>
                  </a:schemeClr>
                </a:solidFill>
                <a:latin typeface="Segoe UI"/>
              </a:rPr>
              <a:t>SMTP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6AE94663-3D75-4BAE-873B-D56A033BA5F2}"/>
              </a:ext>
            </a:extLst>
          </p:cNvPr>
          <p:cNvSpPr txBox="1"/>
          <p:nvPr/>
        </p:nvSpPr>
        <p:spPr>
          <a:xfrm rot="16200000">
            <a:off x="7608718" y="2945321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rgbClr val="00B050"/>
                </a:solidFill>
                <a:latin typeface="Segoe UI"/>
              </a:rPr>
              <a:t>HTTPS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EB3A317A-C698-44E9-920F-E6ECB632B003}"/>
              </a:ext>
            </a:extLst>
          </p:cNvPr>
          <p:cNvSpPr txBox="1"/>
          <p:nvPr/>
        </p:nvSpPr>
        <p:spPr>
          <a:xfrm>
            <a:off x="9471315" y="2238837"/>
            <a:ext cx="289441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chemeClr val="accent4">
                    <a:lumMod val="75000"/>
                  </a:schemeClr>
                </a:solidFill>
                <a:latin typeface="Segoe UI"/>
              </a:rPr>
              <a:t>A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9DECCC5-F5FD-4B89-9DE5-B796A3FD7DB7}"/>
              </a:ext>
            </a:extLst>
          </p:cNvPr>
          <p:cNvSpPr txBox="1"/>
          <p:nvPr/>
        </p:nvSpPr>
        <p:spPr>
          <a:xfrm>
            <a:off x="8852060" y="2238837"/>
            <a:ext cx="289441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chemeClr val="accent4">
                    <a:lumMod val="75000"/>
                  </a:schemeClr>
                </a:solidFill>
                <a:latin typeface="Segoe UI"/>
              </a:rPr>
              <a:t>B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648DD71E-4F0B-4040-A302-551C871DF85C}"/>
              </a:ext>
            </a:extLst>
          </p:cNvPr>
          <p:cNvCxnSpPr>
            <a:cxnSpLocks/>
          </p:cNvCxnSpPr>
          <p:nvPr/>
        </p:nvCxnSpPr>
        <p:spPr>
          <a:xfrm flipV="1">
            <a:off x="10831702" y="2448084"/>
            <a:ext cx="0" cy="2774836"/>
          </a:xfrm>
          <a:prstGeom prst="straightConnector1">
            <a:avLst/>
          </a:prstGeom>
          <a:noFill/>
          <a:ln w="38100" cap="flat" cmpd="sng" algn="ctr">
            <a:solidFill>
              <a:srgbClr val="0BD0D9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58367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12" grpId="0" animBg="1"/>
      <p:bldP spid="14" grpId="0" animBg="1"/>
      <p:bldP spid="27" grpId="0" animBg="1"/>
      <p:bldP spid="32" grpId="0"/>
      <p:bldP spid="33" grpId="0"/>
      <p:bldP spid="34" grpId="0"/>
      <p:bldP spid="3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DF6057-8048-461D-90CE-6BAE8B779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Teams and On-Premises Mailbox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D161320-335C-4C02-BE8C-2BC4E134CE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utoDiscover flow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9B72772B-6BD9-45B4-B5D7-08E77DC086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utoDiscover used for determining </a:t>
            </a:r>
            <a:r>
              <a:rPr lang="en-US" b="1" dirty="0"/>
              <a:t>EWS</a:t>
            </a:r>
            <a:r>
              <a:rPr lang="en-US" dirty="0"/>
              <a:t> and </a:t>
            </a:r>
            <a:r>
              <a:rPr lang="en-US" b="1" dirty="0"/>
              <a:t>REST API </a:t>
            </a:r>
            <a:r>
              <a:rPr lang="en-US" dirty="0"/>
              <a:t>endpoints</a:t>
            </a:r>
          </a:p>
          <a:p>
            <a:r>
              <a:rPr lang="en-US" dirty="0"/>
              <a:t>Teams Backend Services use </a:t>
            </a:r>
            <a:r>
              <a:rPr lang="en-US" b="1" dirty="0"/>
              <a:t>AutoDiscover v2 </a:t>
            </a:r>
            <a:r>
              <a:rPr lang="en-US" dirty="0"/>
              <a:t>JSON only</a:t>
            </a:r>
          </a:p>
          <a:p>
            <a:pPr marL="534831" lvl="1" indent="0">
              <a:buNone/>
            </a:pPr>
            <a:r>
              <a:rPr lang="en-US" dirty="0">
                <a:sym typeface="Wingdings" panose="05000000000000000000" pitchFamily="2" charset="2"/>
              </a:rPr>
              <a:t> Anonymous </a:t>
            </a:r>
            <a:r>
              <a:rPr lang="en-US" dirty="0"/>
              <a:t>AutoDiscover request</a:t>
            </a:r>
          </a:p>
          <a:p>
            <a:r>
              <a:rPr lang="en-US" dirty="0"/>
              <a:t>How does it work?</a:t>
            </a:r>
          </a:p>
          <a:p>
            <a:pPr lvl="1"/>
            <a:r>
              <a:rPr lang="en-US" dirty="0"/>
              <a:t>Teams Backend sends AutoDiscover JSON-request to Exchange Online</a:t>
            </a:r>
          </a:p>
          <a:p>
            <a:pPr lvl="1"/>
            <a:r>
              <a:rPr lang="en-US" dirty="0"/>
              <a:t>Exchange Online verifies the </a:t>
            </a:r>
            <a:r>
              <a:rPr lang="en-US" b="1" dirty="0"/>
              <a:t>recipient type</a:t>
            </a:r>
          </a:p>
          <a:p>
            <a:pPr lvl="2"/>
            <a:r>
              <a:rPr lang="en-US" dirty="0"/>
              <a:t>Mailbox </a:t>
            </a:r>
            <a:r>
              <a:rPr lang="en-US" dirty="0">
                <a:sym typeface="Wingdings" panose="05000000000000000000" pitchFamily="2" charset="2"/>
              </a:rPr>
              <a:t> Response:</a:t>
            </a:r>
            <a:r>
              <a:rPr lang="en-US" dirty="0"/>
              <a:t> https://outlook.office365.com/EWS/Exchange.asmx </a:t>
            </a:r>
          </a:p>
          <a:p>
            <a:pPr lvl="2"/>
            <a:r>
              <a:rPr lang="en-US" dirty="0"/>
              <a:t>Mail User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Calculation of DNS AutoDiscover endpoint based on </a:t>
            </a:r>
            <a:r>
              <a:rPr lang="en-US" i="1" dirty="0" err="1"/>
              <a:t>ExternalEmailAddress</a:t>
            </a:r>
            <a:r>
              <a:rPr lang="en-US" dirty="0"/>
              <a:t> attribute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e.g., </a:t>
            </a:r>
            <a:r>
              <a:rPr lang="en-US" dirty="0"/>
              <a:t>autodiscover.varunagroup.de</a:t>
            </a:r>
          </a:p>
          <a:p>
            <a:pPr lvl="1"/>
            <a:r>
              <a:rPr lang="en-US" dirty="0"/>
              <a:t>HTTP 302 redirect response including hostname of target endpoint</a:t>
            </a:r>
          </a:p>
          <a:p>
            <a:pPr lvl="1"/>
            <a:r>
              <a:rPr lang="en-US" dirty="0"/>
              <a:t>Teams Backend sends AutoDiscover JSON request to on-premises Exchange organization</a:t>
            </a:r>
          </a:p>
          <a:p>
            <a:pPr lvl="1"/>
            <a:r>
              <a:rPr lang="en-US" dirty="0"/>
              <a:t>On-Premises Exchange Server replies with EWS or REST URL </a:t>
            </a:r>
          </a:p>
          <a:p>
            <a:endParaRPr lang="en-US" dirty="0"/>
          </a:p>
        </p:txBody>
      </p:sp>
      <p:pic>
        <p:nvPicPr>
          <p:cNvPr id="6" name="Grafik 5" descr="Häkchen mit einfarbiger Füllung">
            <a:extLst>
              <a:ext uri="{FF2B5EF4-FFF2-40B4-BE49-F238E27FC236}">
                <a16:creationId xmlns:a16="http://schemas.microsoft.com/office/drawing/2014/main" id="{30FD5BA7-E817-4FA3-BC2B-7EAC7958B2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53986" y="3988504"/>
            <a:ext cx="302171" cy="302171"/>
          </a:xfrm>
          <a:prstGeom prst="rect">
            <a:avLst/>
          </a:prstGeom>
        </p:spPr>
      </p:pic>
      <p:pic>
        <p:nvPicPr>
          <p:cNvPr id="7" name="Grafik 6" descr="Häkchen mit einfarbiger Füllung">
            <a:extLst>
              <a:ext uri="{FF2B5EF4-FFF2-40B4-BE49-F238E27FC236}">
                <a16:creationId xmlns:a16="http://schemas.microsoft.com/office/drawing/2014/main" id="{7956CC07-5061-4B91-8D76-FFF6CE9D53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82386" y="5828128"/>
            <a:ext cx="302171" cy="302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56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bldLvl="2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EE4P_LANGUAGE_ID" val="1033"/>
</p:tagLst>
</file>

<file path=ppt/theme/theme1.xml><?xml version="1.0" encoding="utf-8"?>
<a:theme xmlns:a="http://schemas.openxmlformats.org/drawingml/2006/main" name="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twork-Concept_16x9_DE_GRK.potx" id="{5042B197-0569-4B50-BAC6-0FD9A00C903F}" vid="{5E242075-BBBC-4FED-9826-9AAA49D419FB}"/>
    </a:ext>
  </a:extLst>
</a:theme>
</file>

<file path=ppt/theme/theme2.xml><?xml version="1.0" encoding="utf-8"?>
<a:theme xmlns:a="http://schemas.openxmlformats.org/drawingml/2006/main" name="2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twork-Concept_16x9_DE_GRK.potx" id="{5042B197-0569-4B50-BAC6-0FD9A00C903F}" vid="{6D744E6B-0699-4B72-95BD-60E852A9BB0A}"/>
    </a:ext>
  </a:extLst>
</a:theme>
</file>

<file path=ppt/theme/theme3.xml><?xml version="1.0" encoding="utf-8"?>
<a:theme xmlns:a="http://schemas.openxmlformats.org/drawingml/2006/main" name="1_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twork-Concept_16x9_DE_GRK.potx" id="{5042B197-0569-4B50-BAC6-0FD9A00C903F}" vid="{2D2578DA-17BC-41B4-A37C-4FDE5CE75E27}"/>
    </a:ext>
  </a:extLst>
</a:theme>
</file>

<file path=ppt/theme/theme4.xml><?xml version="1.0" encoding="utf-8"?>
<a:theme xmlns:a="http://schemas.openxmlformats.org/drawingml/2006/main" name="3_PRESENTATIONLOAD">
  <a:themeElements>
    <a:clrScheme name="PL Styleguide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6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work-Concept_16x9_DE_GRK.potx" id="{5042B197-0569-4B50-BAC6-0FD9A00C903F}" vid="{BBD0D484-DEA9-43B6-A40B-B0E5E8CB324F}"/>
    </a:ext>
  </a:extLst>
</a:theme>
</file>

<file path=ppt/theme/theme5.xml><?xml version="1.0" encoding="utf-8"?>
<a:theme xmlns:a="http://schemas.openxmlformats.org/drawingml/2006/main" name="4_PRESENTATIONLOAD">
  <a:themeElements>
    <a:clrScheme name="PL Styleguide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6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work-Concept_16x9_DE_GRK.potx" id="{5042B197-0569-4B50-BAC6-0FD9A00C903F}" vid="{45A79652-C1E0-49A3-B727-BCB9908DB4B7}"/>
    </a:ext>
  </a:extLst>
</a:theme>
</file>

<file path=ppt/theme/theme6.xml><?xml version="1.0" encoding="utf-8"?>
<a:theme xmlns:a="http://schemas.openxmlformats.org/drawingml/2006/main" name="5_PRESENTATIONLOAD">
  <a:themeElements>
    <a:clrScheme name="PL Styleguide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6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work-Concept_16x9_DE_GRK.potx" id="{5042B197-0569-4B50-BAC6-0FD9A00C903F}" vid="{12C4CEFD-EA3A-4DC2-B066-AD506B9D4060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twork-Concept_16x9_DE_GRK</Template>
  <TotalTime>0</TotalTime>
  <Words>778</Words>
  <Application>Microsoft Office PowerPoint</Application>
  <PresentationFormat>Benutzerdefiniert</PresentationFormat>
  <Paragraphs>151</Paragraphs>
  <Slides>17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17</vt:i4>
      </vt:variant>
    </vt:vector>
  </HeadingPairs>
  <TitlesOfParts>
    <vt:vector size="30" baseType="lpstr">
      <vt:lpstr>Symbol</vt:lpstr>
      <vt:lpstr>Calibri</vt:lpstr>
      <vt:lpstr>Arial</vt:lpstr>
      <vt:lpstr>Calibri Light</vt:lpstr>
      <vt:lpstr>Segoe UI</vt:lpstr>
      <vt:lpstr>Bebas Neue</vt:lpstr>
      <vt:lpstr>Wingdings</vt:lpstr>
      <vt:lpstr>PRESENTATIONLOAD</vt:lpstr>
      <vt:lpstr>2_PRESENTATIONLOAD</vt:lpstr>
      <vt:lpstr>1_PRESENTATIONLOAD</vt:lpstr>
      <vt:lpstr>3_PRESENTATIONLOAD</vt:lpstr>
      <vt:lpstr>4_PRESENTATIONLOAD</vt:lpstr>
      <vt:lpstr>5_PRESENTATIONLOAD</vt:lpstr>
      <vt:lpstr>Microsoft Teams and On-Premises Mailbox - Why?</vt:lpstr>
      <vt:lpstr>PowerPoint-Präsentation</vt:lpstr>
      <vt:lpstr>PowerPoint-Präsentation</vt:lpstr>
      <vt:lpstr>Microsoft Teams and On-Premises Mailbox</vt:lpstr>
      <vt:lpstr>Microsoft Teams and On-Premises Mailbox</vt:lpstr>
      <vt:lpstr>Microsoft Teams and On-Premises Mailbox</vt:lpstr>
      <vt:lpstr>Microsoft Teams and On-Premises Mailbox</vt:lpstr>
      <vt:lpstr>Microsoft Teams and On-Premises Mailbox</vt:lpstr>
      <vt:lpstr>Microsoft Teams and On-Premises Mailbox</vt:lpstr>
      <vt:lpstr>Microsoft Teams and On-Premises Mailbox</vt:lpstr>
      <vt:lpstr>Microsoft Teams and On-Premises Mailbox</vt:lpstr>
      <vt:lpstr>Microsoft Teams and On-Premises Mailbox</vt:lpstr>
      <vt:lpstr>Microsoft Teams and On-Premises Mailbox</vt:lpstr>
      <vt:lpstr>Questions?</vt:lpstr>
      <vt:lpstr>PowerPoint-Präsentation</vt:lpstr>
      <vt:lpstr>Thank you</vt:lpstr>
      <vt:lpstr>Ressources</vt:lpstr>
    </vt:vector>
  </TitlesOfParts>
  <Company>Granikos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Teams and On-Premises Mailbox - Why?</dc:title>
  <dc:creator>Thomas Stensitzki</dc:creator>
  <cp:keywords/>
  <dc:description/>
  <cp:lastModifiedBy>Thomas Stensitzki</cp:lastModifiedBy>
  <cp:revision>1</cp:revision>
  <dcterms:created xsi:type="dcterms:W3CDTF">2021-05-23T08:43:02Z</dcterms:created>
  <dcterms:modified xsi:type="dcterms:W3CDTF">2021-06-04T08:37:22Z</dcterms:modified>
  <cp:category/>
</cp:coreProperties>
</file>